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8.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9.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11.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13.xml" ContentType="application/vnd.openxmlformats-officedocument.theme+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6.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17.xml" ContentType="application/vnd.openxmlformats-officedocument.theme+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18.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21.xml" ContentType="application/vnd.openxmlformats-officedocument.theme+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theme/theme24.xml" ContentType="application/vnd.openxmlformats-officedocument.theme+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theme/theme25.xml" ContentType="application/vnd.openxmlformats-officedocument.theme+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theme/theme26.xml" ContentType="application/vnd.openxmlformats-officedocument.theme+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theme/theme27.xml" ContentType="application/vnd.openxmlformats-officedocument.theme+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theme/theme28.xml" ContentType="application/vnd.openxmlformats-officedocument.theme+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theme/theme29.xml" ContentType="application/vnd.openxmlformats-officedocument.theme+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theme/theme31.xml" ContentType="application/vnd.openxmlformats-officedocument.theme+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theme/theme32.xml" ContentType="application/vnd.openxmlformats-officedocument.theme+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theme/theme33.xml" ContentType="application/vnd.openxmlformats-officedocument.theme+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64" r:id="rId34"/>
  </p:sldMasterIdLst>
  <p:notesMasterIdLst>
    <p:notesMasterId r:id="rId60"/>
  </p:notesMasterIdLst>
  <p:handoutMasterIdLst>
    <p:handoutMasterId r:id="rId61"/>
  </p:handoutMasterIdLst>
  <p:sldIdLst>
    <p:sldId id="441" r:id="rId35"/>
    <p:sldId id="365" r:id="rId36"/>
    <p:sldId id="443" r:id="rId37"/>
    <p:sldId id="446" r:id="rId38"/>
    <p:sldId id="447" r:id="rId39"/>
    <p:sldId id="444" r:id="rId40"/>
    <p:sldId id="445" r:id="rId41"/>
    <p:sldId id="418" r:id="rId42"/>
    <p:sldId id="427" r:id="rId43"/>
    <p:sldId id="419" r:id="rId44"/>
    <p:sldId id="411" r:id="rId45"/>
    <p:sldId id="412" r:id="rId46"/>
    <p:sldId id="399" r:id="rId47"/>
    <p:sldId id="400" r:id="rId48"/>
    <p:sldId id="402" r:id="rId49"/>
    <p:sldId id="401" r:id="rId50"/>
    <p:sldId id="408" r:id="rId51"/>
    <p:sldId id="409" r:id="rId52"/>
    <p:sldId id="425" r:id="rId53"/>
    <p:sldId id="420" r:id="rId54"/>
    <p:sldId id="424" r:id="rId55"/>
    <p:sldId id="410" r:id="rId56"/>
    <p:sldId id="422" r:id="rId57"/>
    <p:sldId id="423" r:id="rId58"/>
    <p:sldId id="428" r:id="rId5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 id="365"/>
            <p14:sldId id="443"/>
            <p14:sldId id="446"/>
            <p14:sldId id="447"/>
            <p14:sldId id="444"/>
            <p14:sldId id="445"/>
          </p14:sldIdLst>
        </p14:section>
        <p14:section name="Tips Tricks and Experiences" id="{E1451C3D-224F-44A3-A541-A46AA8CBBF73}">
          <p14:sldIdLst>
            <p14:sldId id="418"/>
            <p14:sldId id="427"/>
            <p14:sldId id="419"/>
            <p14:sldId id="411"/>
            <p14:sldId id="412"/>
            <p14:sldId id="399"/>
            <p14:sldId id="400"/>
            <p14:sldId id="402"/>
            <p14:sldId id="401"/>
            <p14:sldId id="408"/>
            <p14:sldId id="409"/>
            <p14:sldId id="425"/>
            <p14:sldId id="420"/>
            <p14:sldId id="424"/>
            <p14:sldId id="410"/>
            <p14:sldId id="422"/>
            <p14:sldId id="423"/>
            <p14:sldId id="42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76581" autoAdjust="0"/>
  </p:normalViewPr>
  <p:slideViewPr>
    <p:cSldViewPr snapToGrid="0">
      <p:cViewPr varScale="1">
        <p:scale>
          <a:sx n="88" d="100"/>
          <a:sy n="88" d="100"/>
        </p:scale>
        <p:origin x="756" y="78"/>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1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E81277-C995-4559-9C7C-B76474E6D488}"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EA2EDCA3-422C-4955-A76F-9674508B325C}">
      <dgm:prSet phldrT="[Text]" custT="1"/>
      <dgm:spPr/>
      <dgm:t>
        <a:bodyPr/>
        <a:lstStyle/>
        <a:p>
          <a:r>
            <a:rPr lang="en-US" sz="2400" b="1" dirty="0"/>
            <a:t>Recognize Accomplishments</a:t>
          </a:r>
        </a:p>
      </dgm:t>
    </dgm:pt>
    <dgm:pt modelId="{45A3CEFA-B3E5-40C6-8D37-6BEF95FDE5F4}" type="parTrans" cxnId="{DCB508D1-C0E6-45F1-BED3-E7AADCE435F7}">
      <dgm:prSet/>
      <dgm:spPr/>
      <dgm:t>
        <a:bodyPr/>
        <a:lstStyle/>
        <a:p>
          <a:endParaRPr lang="en-US"/>
        </a:p>
      </dgm:t>
    </dgm:pt>
    <dgm:pt modelId="{59C4F084-AB3F-4280-B8F4-A50DDDB40E72}" type="sibTrans" cxnId="{DCB508D1-C0E6-45F1-BED3-E7AADCE435F7}">
      <dgm:prSet/>
      <dgm:spPr/>
      <dgm:t>
        <a:bodyPr/>
        <a:lstStyle/>
        <a:p>
          <a:endParaRPr lang="en-US"/>
        </a:p>
      </dgm:t>
    </dgm:pt>
    <dgm:pt modelId="{D18A5AE1-BA17-4C86-8856-730D8F8EFABB}">
      <dgm:prSet phldrT="[Text]"/>
      <dgm:spPr/>
      <dgm:t>
        <a:bodyPr/>
        <a:lstStyle/>
        <a:p>
          <a:r>
            <a:rPr lang="en-US" dirty="0"/>
            <a:t>Finish a chapter, Finish a Lab, Watch a video, Read a white paper… All Accomplishments</a:t>
          </a:r>
        </a:p>
      </dgm:t>
    </dgm:pt>
    <dgm:pt modelId="{2E6CC550-1627-4A0F-960C-7BA102A368CE}" type="parTrans" cxnId="{456CBB37-C338-4A85-B203-C1EF07C1E29B}">
      <dgm:prSet/>
      <dgm:spPr/>
      <dgm:t>
        <a:bodyPr/>
        <a:lstStyle/>
        <a:p>
          <a:endParaRPr lang="en-US"/>
        </a:p>
      </dgm:t>
    </dgm:pt>
    <dgm:pt modelId="{F8D2A6F7-DB75-4E5E-AD52-95A209783E71}" type="sibTrans" cxnId="{456CBB37-C338-4A85-B203-C1EF07C1E29B}">
      <dgm:prSet/>
      <dgm:spPr/>
      <dgm:t>
        <a:bodyPr/>
        <a:lstStyle/>
        <a:p>
          <a:endParaRPr lang="en-US"/>
        </a:p>
      </dgm:t>
    </dgm:pt>
    <dgm:pt modelId="{14D8AC8A-33C5-44A3-B5BF-78609834B86C}">
      <dgm:prSet phldrT="[Text]" custT="1"/>
      <dgm:spPr/>
      <dgm:t>
        <a:bodyPr/>
        <a:lstStyle/>
        <a:p>
          <a:r>
            <a:rPr lang="en-US" sz="2400" b="1" dirty="0"/>
            <a:t>Get Family On Board</a:t>
          </a:r>
        </a:p>
      </dgm:t>
    </dgm:pt>
    <dgm:pt modelId="{27C15242-558A-418E-A43A-9F75E6C01A67}" type="parTrans" cxnId="{E294F488-A32A-4A08-86B8-C46D448322F8}">
      <dgm:prSet/>
      <dgm:spPr/>
      <dgm:t>
        <a:bodyPr/>
        <a:lstStyle/>
        <a:p>
          <a:endParaRPr lang="en-US"/>
        </a:p>
      </dgm:t>
    </dgm:pt>
    <dgm:pt modelId="{2DB076C8-ACAB-4D3B-8B20-256A32D5A27F}" type="sibTrans" cxnId="{E294F488-A32A-4A08-86B8-C46D448322F8}">
      <dgm:prSet/>
      <dgm:spPr/>
      <dgm:t>
        <a:bodyPr/>
        <a:lstStyle/>
        <a:p>
          <a:endParaRPr lang="en-US"/>
        </a:p>
      </dgm:t>
    </dgm:pt>
    <dgm:pt modelId="{5A8F2EBC-85E6-4CFB-A5D6-B5C6E38FF2D0}">
      <dgm:prSet phldrT="[Text]"/>
      <dgm:spPr/>
      <dgm:t>
        <a:bodyPr/>
        <a:lstStyle/>
        <a:p>
          <a:r>
            <a:rPr lang="en-US" dirty="0"/>
            <a:t>Make your goals, their goals.  Trip to Dave &amp; Busters upon completion, ice cream shop for a chapter</a:t>
          </a:r>
        </a:p>
      </dgm:t>
    </dgm:pt>
    <dgm:pt modelId="{B124AE46-1CB6-4DE3-99B5-03CBCA8EF69C}" type="parTrans" cxnId="{B833449A-1F4A-4A12-AC4B-51DA1F988436}">
      <dgm:prSet/>
      <dgm:spPr/>
      <dgm:t>
        <a:bodyPr/>
        <a:lstStyle/>
        <a:p>
          <a:endParaRPr lang="en-US"/>
        </a:p>
      </dgm:t>
    </dgm:pt>
    <dgm:pt modelId="{1A5B0BBB-2B43-4D49-BBC5-7EB9EBC1A8E0}" type="sibTrans" cxnId="{B833449A-1F4A-4A12-AC4B-51DA1F988436}">
      <dgm:prSet/>
      <dgm:spPr/>
      <dgm:t>
        <a:bodyPr/>
        <a:lstStyle/>
        <a:p>
          <a:endParaRPr lang="en-US"/>
        </a:p>
      </dgm:t>
    </dgm:pt>
    <dgm:pt modelId="{61D15527-5E73-453D-90DC-E7ECE35AF174}">
      <dgm:prSet phldrT="[Text]"/>
      <dgm:spPr/>
      <dgm:t>
        <a:bodyPr/>
        <a:lstStyle/>
        <a:p>
          <a:r>
            <a:rPr lang="en-US" dirty="0"/>
            <a:t>Make the Decision… Get STARTED NOW!</a:t>
          </a:r>
        </a:p>
      </dgm:t>
    </dgm:pt>
    <dgm:pt modelId="{C8286615-1483-45E1-A7DD-2B78139E3B02}">
      <dgm:prSet phldrT="[Text]"/>
      <dgm:spPr/>
      <dgm:t>
        <a:bodyPr/>
        <a:lstStyle/>
        <a:p>
          <a:r>
            <a:rPr lang="en-US" dirty="0"/>
            <a:t>Self, Career, Income, Stature</a:t>
          </a:r>
        </a:p>
      </dgm:t>
    </dgm:pt>
    <dgm:pt modelId="{69B51F39-3B47-48B7-92EB-29E466F800B8}">
      <dgm:prSet phldrT="[Text]" custT="1"/>
      <dgm:spPr/>
      <dgm:t>
        <a:bodyPr/>
        <a:lstStyle/>
        <a:p>
          <a:r>
            <a:rPr lang="en-US" sz="2400" b="1" dirty="0"/>
            <a:t>Value of Certification</a:t>
          </a:r>
        </a:p>
      </dgm:t>
    </dgm:pt>
    <dgm:pt modelId="{58C309A8-9467-49EF-8BBB-5C70CFFD842E}" type="sibTrans" cxnId="{B2003CBA-B996-489D-A5C1-66DFB3CEE7BB}">
      <dgm:prSet/>
      <dgm:spPr/>
      <dgm:t>
        <a:bodyPr/>
        <a:lstStyle/>
        <a:p>
          <a:endParaRPr lang="en-US"/>
        </a:p>
      </dgm:t>
    </dgm:pt>
    <dgm:pt modelId="{5AE9D5D5-76FC-439A-9AE4-5BC388489496}" type="parTrans" cxnId="{B2003CBA-B996-489D-A5C1-66DFB3CEE7BB}">
      <dgm:prSet/>
      <dgm:spPr/>
      <dgm:t>
        <a:bodyPr/>
        <a:lstStyle/>
        <a:p>
          <a:endParaRPr lang="en-US"/>
        </a:p>
      </dgm:t>
    </dgm:pt>
    <dgm:pt modelId="{8BB6A7F2-ED2B-4008-95CF-1D1E011586D7}" type="sibTrans" cxnId="{645CDCE4-551B-44E7-8F80-4508BF30A52F}">
      <dgm:prSet/>
      <dgm:spPr/>
      <dgm:t>
        <a:bodyPr/>
        <a:lstStyle/>
        <a:p>
          <a:endParaRPr lang="en-US"/>
        </a:p>
      </dgm:t>
    </dgm:pt>
    <dgm:pt modelId="{2169D7AD-9F62-4AA9-A4AE-CD0EABD6D227}" type="parTrans" cxnId="{645CDCE4-551B-44E7-8F80-4508BF30A52F}">
      <dgm:prSet/>
      <dgm:spPr/>
      <dgm:t>
        <a:bodyPr/>
        <a:lstStyle/>
        <a:p>
          <a:endParaRPr lang="en-US"/>
        </a:p>
      </dgm:t>
    </dgm:pt>
    <dgm:pt modelId="{4602EDAA-BEEE-4E5C-9564-DEFA69CCA61E}" type="sibTrans" cxnId="{BEECFBC1-6445-4E4A-A84D-FD28AC3798BE}">
      <dgm:prSet/>
      <dgm:spPr/>
      <dgm:t>
        <a:bodyPr/>
        <a:lstStyle/>
        <a:p>
          <a:endParaRPr lang="en-US"/>
        </a:p>
      </dgm:t>
    </dgm:pt>
    <dgm:pt modelId="{1C35EB20-526B-442D-82F1-F138A77AF665}" type="parTrans" cxnId="{BEECFBC1-6445-4E4A-A84D-FD28AC3798BE}">
      <dgm:prSet/>
      <dgm:spPr/>
      <dgm:t>
        <a:bodyPr/>
        <a:lstStyle/>
        <a:p>
          <a:endParaRPr lang="en-US"/>
        </a:p>
      </dgm:t>
    </dgm:pt>
    <dgm:pt modelId="{F2E65024-7ED2-4DDF-8FE2-F24BE255E80C}" type="pres">
      <dgm:prSet presAssocID="{A0E81277-C995-4559-9C7C-B76474E6D488}" presName="Name0" presStyleCnt="0">
        <dgm:presLayoutVars>
          <dgm:chMax/>
          <dgm:chPref/>
          <dgm:dir/>
        </dgm:presLayoutVars>
      </dgm:prSet>
      <dgm:spPr/>
    </dgm:pt>
    <dgm:pt modelId="{6C953D64-5C21-4858-A2CD-C68B469B68DA}" type="pres">
      <dgm:prSet presAssocID="{69B51F39-3B47-48B7-92EB-29E466F800B8}" presName="parenttextcomposite" presStyleCnt="0"/>
      <dgm:spPr/>
    </dgm:pt>
    <dgm:pt modelId="{1096B1FD-8681-4CCE-9BE7-0108F6F867B6}" type="pres">
      <dgm:prSet presAssocID="{69B51F39-3B47-48B7-92EB-29E466F800B8}" presName="parenttext" presStyleLbl="revTx" presStyleIdx="0" presStyleCnt="3">
        <dgm:presLayoutVars>
          <dgm:chMax/>
          <dgm:chPref val="2"/>
          <dgm:bulletEnabled val="1"/>
        </dgm:presLayoutVars>
      </dgm:prSet>
      <dgm:spPr/>
    </dgm:pt>
    <dgm:pt modelId="{48CF5DD6-2EA6-4F61-A72F-70046AC39D12}" type="pres">
      <dgm:prSet presAssocID="{69B51F39-3B47-48B7-92EB-29E466F800B8}" presName="composite" presStyleCnt="0"/>
      <dgm:spPr/>
    </dgm:pt>
    <dgm:pt modelId="{697BCE78-AE2E-443B-9DE2-18680639DF30}" type="pres">
      <dgm:prSet presAssocID="{69B51F39-3B47-48B7-92EB-29E466F800B8}" presName="chevron1" presStyleLbl="alignNode1" presStyleIdx="0" presStyleCnt="21"/>
      <dgm:spPr/>
    </dgm:pt>
    <dgm:pt modelId="{FB5F67B4-7FBB-46AF-90E1-70B885F9B1A0}" type="pres">
      <dgm:prSet presAssocID="{69B51F39-3B47-48B7-92EB-29E466F800B8}" presName="chevron2" presStyleLbl="alignNode1" presStyleIdx="1" presStyleCnt="21"/>
      <dgm:spPr/>
    </dgm:pt>
    <dgm:pt modelId="{8307738E-306A-4730-A007-084DF385F3FF}" type="pres">
      <dgm:prSet presAssocID="{69B51F39-3B47-48B7-92EB-29E466F800B8}" presName="chevron3" presStyleLbl="alignNode1" presStyleIdx="2" presStyleCnt="21"/>
      <dgm:spPr/>
    </dgm:pt>
    <dgm:pt modelId="{23CE8E51-E416-45BB-A560-660D53F17696}" type="pres">
      <dgm:prSet presAssocID="{69B51F39-3B47-48B7-92EB-29E466F800B8}" presName="chevron4" presStyleLbl="alignNode1" presStyleIdx="3" presStyleCnt="21"/>
      <dgm:spPr/>
    </dgm:pt>
    <dgm:pt modelId="{8EB562CC-BFA3-43A6-803F-9A1F56EBA880}" type="pres">
      <dgm:prSet presAssocID="{69B51F39-3B47-48B7-92EB-29E466F800B8}" presName="chevron5" presStyleLbl="alignNode1" presStyleIdx="4" presStyleCnt="21"/>
      <dgm:spPr/>
    </dgm:pt>
    <dgm:pt modelId="{ECAEAB1E-494D-470E-A80F-9C13B690092D}" type="pres">
      <dgm:prSet presAssocID="{69B51F39-3B47-48B7-92EB-29E466F800B8}" presName="chevron6" presStyleLbl="alignNode1" presStyleIdx="5" presStyleCnt="21"/>
      <dgm:spPr/>
    </dgm:pt>
    <dgm:pt modelId="{5FD98E53-203C-4FF7-82C6-F58DA8574E4F}" type="pres">
      <dgm:prSet presAssocID="{69B51F39-3B47-48B7-92EB-29E466F800B8}" presName="chevron7" presStyleLbl="alignNode1" presStyleIdx="6" presStyleCnt="21"/>
      <dgm:spPr/>
    </dgm:pt>
    <dgm:pt modelId="{6430F9DE-B067-4A84-A657-C1F37252AF82}" type="pres">
      <dgm:prSet presAssocID="{69B51F39-3B47-48B7-92EB-29E466F800B8}" presName="childtext" presStyleLbl="solidFgAcc1" presStyleIdx="0" presStyleCnt="3">
        <dgm:presLayoutVars>
          <dgm:chMax/>
          <dgm:chPref val="0"/>
          <dgm:bulletEnabled val="1"/>
        </dgm:presLayoutVars>
      </dgm:prSet>
      <dgm:spPr/>
    </dgm:pt>
    <dgm:pt modelId="{D180B4AE-2C4C-4FB6-92D4-E08EDE42E5D5}" type="pres">
      <dgm:prSet presAssocID="{58C309A8-9467-49EF-8BBB-5C70CFFD842E}" presName="sibTrans" presStyleCnt="0"/>
      <dgm:spPr/>
    </dgm:pt>
    <dgm:pt modelId="{E37C0367-9C02-4AD4-BD8C-CDDD728122AC}" type="pres">
      <dgm:prSet presAssocID="{EA2EDCA3-422C-4955-A76F-9674508B325C}" presName="parenttextcomposite" presStyleCnt="0"/>
      <dgm:spPr/>
    </dgm:pt>
    <dgm:pt modelId="{7879BA2E-6071-493E-B298-947188667C8F}" type="pres">
      <dgm:prSet presAssocID="{EA2EDCA3-422C-4955-A76F-9674508B325C}" presName="parenttext" presStyleLbl="revTx" presStyleIdx="1" presStyleCnt="3">
        <dgm:presLayoutVars>
          <dgm:chMax/>
          <dgm:chPref val="2"/>
          <dgm:bulletEnabled val="1"/>
        </dgm:presLayoutVars>
      </dgm:prSet>
      <dgm:spPr/>
    </dgm:pt>
    <dgm:pt modelId="{96004038-6C8D-4969-BA27-68E6A4709FDE}" type="pres">
      <dgm:prSet presAssocID="{EA2EDCA3-422C-4955-A76F-9674508B325C}" presName="composite" presStyleCnt="0"/>
      <dgm:spPr/>
    </dgm:pt>
    <dgm:pt modelId="{DED14C54-3C21-478E-813A-755AD321E72B}" type="pres">
      <dgm:prSet presAssocID="{EA2EDCA3-422C-4955-A76F-9674508B325C}" presName="chevron1" presStyleLbl="alignNode1" presStyleIdx="7" presStyleCnt="21"/>
      <dgm:spPr/>
    </dgm:pt>
    <dgm:pt modelId="{C31A6627-3921-4A2D-8661-4DE372666C87}" type="pres">
      <dgm:prSet presAssocID="{EA2EDCA3-422C-4955-A76F-9674508B325C}" presName="chevron2" presStyleLbl="alignNode1" presStyleIdx="8" presStyleCnt="21"/>
      <dgm:spPr/>
    </dgm:pt>
    <dgm:pt modelId="{9764ABBE-3EF0-4A1D-B1C4-6C93806C5F4F}" type="pres">
      <dgm:prSet presAssocID="{EA2EDCA3-422C-4955-A76F-9674508B325C}" presName="chevron3" presStyleLbl="alignNode1" presStyleIdx="9" presStyleCnt="21"/>
      <dgm:spPr/>
    </dgm:pt>
    <dgm:pt modelId="{F943E8BD-E77A-452D-B80B-55A5789CB422}" type="pres">
      <dgm:prSet presAssocID="{EA2EDCA3-422C-4955-A76F-9674508B325C}" presName="chevron4" presStyleLbl="alignNode1" presStyleIdx="10" presStyleCnt="21"/>
      <dgm:spPr/>
    </dgm:pt>
    <dgm:pt modelId="{C29948BC-4792-44BB-A348-E696F901916A}" type="pres">
      <dgm:prSet presAssocID="{EA2EDCA3-422C-4955-A76F-9674508B325C}" presName="chevron5" presStyleLbl="alignNode1" presStyleIdx="11" presStyleCnt="21"/>
      <dgm:spPr/>
    </dgm:pt>
    <dgm:pt modelId="{CAA4DF37-FA78-4AB3-AB6B-B4E143DCF66F}" type="pres">
      <dgm:prSet presAssocID="{EA2EDCA3-422C-4955-A76F-9674508B325C}" presName="chevron6" presStyleLbl="alignNode1" presStyleIdx="12" presStyleCnt="21"/>
      <dgm:spPr/>
    </dgm:pt>
    <dgm:pt modelId="{FE5A660D-7DC7-4EE0-B8EF-640A2AD33F22}" type="pres">
      <dgm:prSet presAssocID="{EA2EDCA3-422C-4955-A76F-9674508B325C}" presName="chevron7" presStyleLbl="alignNode1" presStyleIdx="13" presStyleCnt="21"/>
      <dgm:spPr/>
    </dgm:pt>
    <dgm:pt modelId="{BCDF6F4A-81DF-4A84-B5F9-8A911F18A7DB}" type="pres">
      <dgm:prSet presAssocID="{EA2EDCA3-422C-4955-A76F-9674508B325C}" presName="childtext" presStyleLbl="solidFgAcc1" presStyleIdx="1" presStyleCnt="3">
        <dgm:presLayoutVars>
          <dgm:chMax/>
          <dgm:chPref val="0"/>
          <dgm:bulletEnabled val="1"/>
        </dgm:presLayoutVars>
      </dgm:prSet>
      <dgm:spPr/>
    </dgm:pt>
    <dgm:pt modelId="{ECF4BD3F-D3E2-412F-AA5A-2C549F9F2C16}" type="pres">
      <dgm:prSet presAssocID="{59C4F084-AB3F-4280-B8F4-A50DDDB40E72}" presName="sibTrans" presStyleCnt="0"/>
      <dgm:spPr/>
    </dgm:pt>
    <dgm:pt modelId="{7FD98923-305C-4B5F-A5EC-AD60CAEEEF67}" type="pres">
      <dgm:prSet presAssocID="{14D8AC8A-33C5-44A3-B5BF-78609834B86C}" presName="parenttextcomposite" presStyleCnt="0"/>
      <dgm:spPr/>
    </dgm:pt>
    <dgm:pt modelId="{1750DEA6-1349-4773-8D83-7B0686008CCB}" type="pres">
      <dgm:prSet presAssocID="{14D8AC8A-33C5-44A3-B5BF-78609834B86C}" presName="parenttext" presStyleLbl="revTx" presStyleIdx="2" presStyleCnt="3">
        <dgm:presLayoutVars>
          <dgm:chMax/>
          <dgm:chPref val="2"/>
          <dgm:bulletEnabled val="1"/>
        </dgm:presLayoutVars>
      </dgm:prSet>
      <dgm:spPr/>
    </dgm:pt>
    <dgm:pt modelId="{98636034-8CA0-4ADE-BDC4-C0D8FE48C304}" type="pres">
      <dgm:prSet presAssocID="{14D8AC8A-33C5-44A3-B5BF-78609834B86C}" presName="composite" presStyleCnt="0"/>
      <dgm:spPr/>
    </dgm:pt>
    <dgm:pt modelId="{015A0644-3C96-4C98-962B-5D0471BF608E}" type="pres">
      <dgm:prSet presAssocID="{14D8AC8A-33C5-44A3-B5BF-78609834B86C}" presName="chevron1" presStyleLbl="alignNode1" presStyleIdx="14" presStyleCnt="21"/>
      <dgm:spPr/>
    </dgm:pt>
    <dgm:pt modelId="{F7C47965-CCA8-4055-A56D-36FA36F10495}" type="pres">
      <dgm:prSet presAssocID="{14D8AC8A-33C5-44A3-B5BF-78609834B86C}" presName="chevron2" presStyleLbl="alignNode1" presStyleIdx="15" presStyleCnt="21"/>
      <dgm:spPr/>
    </dgm:pt>
    <dgm:pt modelId="{45214177-EA78-487F-A042-51A83FA331D9}" type="pres">
      <dgm:prSet presAssocID="{14D8AC8A-33C5-44A3-B5BF-78609834B86C}" presName="chevron3" presStyleLbl="alignNode1" presStyleIdx="16" presStyleCnt="21"/>
      <dgm:spPr/>
    </dgm:pt>
    <dgm:pt modelId="{E370AF20-FED3-4585-9FB5-E15F7689A43F}" type="pres">
      <dgm:prSet presAssocID="{14D8AC8A-33C5-44A3-B5BF-78609834B86C}" presName="chevron4" presStyleLbl="alignNode1" presStyleIdx="17" presStyleCnt="21"/>
      <dgm:spPr/>
    </dgm:pt>
    <dgm:pt modelId="{B0F91B8B-242D-43B8-8FE9-29EB22F913B3}" type="pres">
      <dgm:prSet presAssocID="{14D8AC8A-33C5-44A3-B5BF-78609834B86C}" presName="chevron5" presStyleLbl="alignNode1" presStyleIdx="18" presStyleCnt="21"/>
      <dgm:spPr/>
    </dgm:pt>
    <dgm:pt modelId="{91D87061-10B0-4CD9-873D-0519C56E9BA3}" type="pres">
      <dgm:prSet presAssocID="{14D8AC8A-33C5-44A3-B5BF-78609834B86C}" presName="chevron6" presStyleLbl="alignNode1" presStyleIdx="19" presStyleCnt="21"/>
      <dgm:spPr/>
    </dgm:pt>
    <dgm:pt modelId="{D4A7A6B8-D189-412B-AC72-947AAFE51E12}" type="pres">
      <dgm:prSet presAssocID="{14D8AC8A-33C5-44A3-B5BF-78609834B86C}" presName="chevron7" presStyleLbl="alignNode1" presStyleIdx="20" presStyleCnt="21"/>
      <dgm:spPr/>
    </dgm:pt>
    <dgm:pt modelId="{75C65DA6-CD6F-41DA-9528-0164593EB2E9}" type="pres">
      <dgm:prSet presAssocID="{14D8AC8A-33C5-44A3-B5BF-78609834B86C}" presName="childtext" presStyleLbl="solidFgAcc1" presStyleIdx="2" presStyleCnt="3">
        <dgm:presLayoutVars>
          <dgm:chMax/>
          <dgm:chPref val="0"/>
          <dgm:bulletEnabled val="1"/>
        </dgm:presLayoutVars>
      </dgm:prSet>
      <dgm:spPr/>
    </dgm:pt>
  </dgm:ptLst>
  <dgm:cxnLst>
    <dgm:cxn modelId="{332F6018-AFE4-48F5-8915-128A29D339EF}" type="presOf" srcId="{C8286615-1483-45E1-A7DD-2B78139E3B02}" destId="{6430F9DE-B067-4A84-A657-C1F37252AF82}" srcOrd="0" destOrd="0" presId="urn:microsoft.com/office/officeart/2008/layout/VerticalAccentList"/>
    <dgm:cxn modelId="{89469D19-A6AD-414B-B0C4-9B2F85B5C078}" type="presOf" srcId="{61D15527-5E73-453D-90DC-E7ECE35AF174}" destId="{6430F9DE-B067-4A84-A657-C1F37252AF82}" srcOrd="0" destOrd="1" presId="urn:microsoft.com/office/officeart/2008/layout/VerticalAccentList"/>
    <dgm:cxn modelId="{7E88151F-86B5-4265-8C99-08B29B57411D}" type="presOf" srcId="{A0E81277-C995-4559-9C7C-B76474E6D488}" destId="{F2E65024-7ED2-4DDF-8FE2-F24BE255E80C}" srcOrd="0" destOrd="0" presId="urn:microsoft.com/office/officeart/2008/layout/VerticalAccentList"/>
    <dgm:cxn modelId="{456CBB37-C338-4A85-B203-C1EF07C1E29B}" srcId="{EA2EDCA3-422C-4955-A76F-9674508B325C}" destId="{D18A5AE1-BA17-4C86-8856-730D8F8EFABB}" srcOrd="0" destOrd="0" parTransId="{2E6CC550-1627-4A0F-960C-7BA102A368CE}" sibTransId="{F8D2A6F7-DB75-4E5E-AD52-95A209783E71}"/>
    <dgm:cxn modelId="{5BC0CD61-AF19-4B3E-AF4F-04DE195CDEBC}" type="presOf" srcId="{69B51F39-3B47-48B7-92EB-29E466F800B8}" destId="{1096B1FD-8681-4CCE-9BE7-0108F6F867B6}" srcOrd="0" destOrd="0" presId="urn:microsoft.com/office/officeart/2008/layout/VerticalAccentList"/>
    <dgm:cxn modelId="{2F50DC45-2C95-4E9A-9B29-983B8192B638}" type="presOf" srcId="{D18A5AE1-BA17-4C86-8856-730D8F8EFABB}" destId="{BCDF6F4A-81DF-4A84-B5F9-8A911F18A7DB}" srcOrd="0" destOrd="0" presId="urn:microsoft.com/office/officeart/2008/layout/VerticalAccentList"/>
    <dgm:cxn modelId="{15C7436B-EEB4-4694-9CB0-B50EA81B3C73}" type="presOf" srcId="{5A8F2EBC-85E6-4CFB-A5D6-B5C6E38FF2D0}" destId="{75C65DA6-CD6F-41DA-9528-0164593EB2E9}" srcOrd="0" destOrd="0" presId="urn:microsoft.com/office/officeart/2008/layout/VerticalAccentList"/>
    <dgm:cxn modelId="{E294F488-A32A-4A08-86B8-C46D448322F8}" srcId="{A0E81277-C995-4559-9C7C-B76474E6D488}" destId="{14D8AC8A-33C5-44A3-B5BF-78609834B86C}" srcOrd="2" destOrd="0" parTransId="{27C15242-558A-418E-A43A-9F75E6C01A67}" sibTransId="{2DB076C8-ACAB-4D3B-8B20-256A32D5A27F}"/>
    <dgm:cxn modelId="{2BCF6893-C2F7-4C15-8D15-4F75B3C6E3C8}" type="presOf" srcId="{EA2EDCA3-422C-4955-A76F-9674508B325C}" destId="{7879BA2E-6071-493E-B298-947188667C8F}" srcOrd="0" destOrd="0" presId="urn:microsoft.com/office/officeart/2008/layout/VerticalAccentList"/>
    <dgm:cxn modelId="{B833449A-1F4A-4A12-AC4B-51DA1F988436}" srcId="{14D8AC8A-33C5-44A3-B5BF-78609834B86C}" destId="{5A8F2EBC-85E6-4CFB-A5D6-B5C6E38FF2D0}" srcOrd="0" destOrd="0" parTransId="{B124AE46-1CB6-4DE3-99B5-03CBCA8EF69C}" sibTransId="{1A5B0BBB-2B43-4D49-BBC5-7EB9EBC1A8E0}"/>
    <dgm:cxn modelId="{B2003CBA-B996-489D-A5C1-66DFB3CEE7BB}" srcId="{A0E81277-C995-4559-9C7C-B76474E6D488}" destId="{69B51F39-3B47-48B7-92EB-29E466F800B8}" srcOrd="0" destOrd="0" parTransId="{5AE9D5D5-76FC-439A-9AE4-5BC388489496}" sibTransId="{58C309A8-9467-49EF-8BBB-5C70CFFD842E}"/>
    <dgm:cxn modelId="{BEECFBC1-6445-4E4A-A84D-FD28AC3798BE}" srcId="{69B51F39-3B47-48B7-92EB-29E466F800B8}" destId="{C8286615-1483-45E1-A7DD-2B78139E3B02}" srcOrd="0" destOrd="0" parTransId="{1C35EB20-526B-442D-82F1-F138A77AF665}" sibTransId="{4602EDAA-BEEE-4E5C-9564-DEFA69CCA61E}"/>
    <dgm:cxn modelId="{44DDC7C6-3BD9-499C-A15B-692FE29B2B76}" type="presOf" srcId="{14D8AC8A-33C5-44A3-B5BF-78609834B86C}" destId="{1750DEA6-1349-4773-8D83-7B0686008CCB}" srcOrd="0" destOrd="0" presId="urn:microsoft.com/office/officeart/2008/layout/VerticalAccentList"/>
    <dgm:cxn modelId="{DCB508D1-C0E6-45F1-BED3-E7AADCE435F7}" srcId="{A0E81277-C995-4559-9C7C-B76474E6D488}" destId="{EA2EDCA3-422C-4955-A76F-9674508B325C}" srcOrd="1" destOrd="0" parTransId="{45A3CEFA-B3E5-40C6-8D37-6BEF95FDE5F4}" sibTransId="{59C4F084-AB3F-4280-B8F4-A50DDDB40E72}"/>
    <dgm:cxn modelId="{645CDCE4-551B-44E7-8F80-4508BF30A52F}" srcId="{69B51F39-3B47-48B7-92EB-29E466F800B8}" destId="{61D15527-5E73-453D-90DC-E7ECE35AF174}" srcOrd="1" destOrd="0" parTransId="{2169D7AD-9F62-4AA9-A4AE-CD0EABD6D227}" sibTransId="{8BB6A7F2-ED2B-4008-95CF-1D1E011586D7}"/>
    <dgm:cxn modelId="{124D930B-5ABC-4489-B5AE-6A35C4B8E5B3}" type="presParOf" srcId="{F2E65024-7ED2-4DDF-8FE2-F24BE255E80C}" destId="{6C953D64-5C21-4858-A2CD-C68B469B68DA}" srcOrd="0" destOrd="0" presId="urn:microsoft.com/office/officeart/2008/layout/VerticalAccentList"/>
    <dgm:cxn modelId="{B8E9FBFF-682C-4D9D-BBDB-E897023ABFE7}" type="presParOf" srcId="{6C953D64-5C21-4858-A2CD-C68B469B68DA}" destId="{1096B1FD-8681-4CCE-9BE7-0108F6F867B6}" srcOrd="0" destOrd="0" presId="urn:microsoft.com/office/officeart/2008/layout/VerticalAccentList"/>
    <dgm:cxn modelId="{7C3F6259-DD84-4AEC-92BE-6F25A08FAF2B}" type="presParOf" srcId="{F2E65024-7ED2-4DDF-8FE2-F24BE255E80C}" destId="{48CF5DD6-2EA6-4F61-A72F-70046AC39D12}" srcOrd="1" destOrd="0" presId="urn:microsoft.com/office/officeart/2008/layout/VerticalAccentList"/>
    <dgm:cxn modelId="{9DC693CA-04D6-4EC7-B44C-625C73F02530}" type="presParOf" srcId="{48CF5DD6-2EA6-4F61-A72F-70046AC39D12}" destId="{697BCE78-AE2E-443B-9DE2-18680639DF30}" srcOrd="0" destOrd="0" presId="urn:microsoft.com/office/officeart/2008/layout/VerticalAccentList"/>
    <dgm:cxn modelId="{C02D1D43-4365-4FC1-B435-FDF1A169250F}" type="presParOf" srcId="{48CF5DD6-2EA6-4F61-A72F-70046AC39D12}" destId="{FB5F67B4-7FBB-46AF-90E1-70B885F9B1A0}" srcOrd="1" destOrd="0" presId="urn:microsoft.com/office/officeart/2008/layout/VerticalAccentList"/>
    <dgm:cxn modelId="{AA0A4BE5-8D5F-405E-A75D-1B7351261FEC}" type="presParOf" srcId="{48CF5DD6-2EA6-4F61-A72F-70046AC39D12}" destId="{8307738E-306A-4730-A007-084DF385F3FF}" srcOrd="2" destOrd="0" presId="urn:microsoft.com/office/officeart/2008/layout/VerticalAccentList"/>
    <dgm:cxn modelId="{423BC8CD-36D2-4575-BCBC-CB4E0733E900}" type="presParOf" srcId="{48CF5DD6-2EA6-4F61-A72F-70046AC39D12}" destId="{23CE8E51-E416-45BB-A560-660D53F17696}" srcOrd="3" destOrd="0" presId="urn:microsoft.com/office/officeart/2008/layout/VerticalAccentList"/>
    <dgm:cxn modelId="{075837D2-0EB8-4DFD-BB76-F62E25767179}" type="presParOf" srcId="{48CF5DD6-2EA6-4F61-A72F-70046AC39D12}" destId="{8EB562CC-BFA3-43A6-803F-9A1F56EBA880}" srcOrd="4" destOrd="0" presId="urn:microsoft.com/office/officeart/2008/layout/VerticalAccentList"/>
    <dgm:cxn modelId="{72A4F06A-9754-41E3-9E41-C14AFE1A7747}" type="presParOf" srcId="{48CF5DD6-2EA6-4F61-A72F-70046AC39D12}" destId="{ECAEAB1E-494D-470E-A80F-9C13B690092D}" srcOrd="5" destOrd="0" presId="urn:microsoft.com/office/officeart/2008/layout/VerticalAccentList"/>
    <dgm:cxn modelId="{53F27EB9-4424-41E6-AAC8-887721244EFE}" type="presParOf" srcId="{48CF5DD6-2EA6-4F61-A72F-70046AC39D12}" destId="{5FD98E53-203C-4FF7-82C6-F58DA8574E4F}" srcOrd="6" destOrd="0" presId="urn:microsoft.com/office/officeart/2008/layout/VerticalAccentList"/>
    <dgm:cxn modelId="{0463306C-86AD-4E80-A11F-3EEBF62631ED}" type="presParOf" srcId="{48CF5DD6-2EA6-4F61-A72F-70046AC39D12}" destId="{6430F9DE-B067-4A84-A657-C1F37252AF82}" srcOrd="7" destOrd="0" presId="urn:microsoft.com/office/officeart/2008/layout/VerticalAccentList"/>
    <dgm:cxn modelId="{5A603676-7C5E-4A84-8B40-F4C719222D64}" type="presParOf" srcId="{F2E65024-7ED2-4DDF-8FE2-F24BE255E80C}" destId="{D180B4AE-2C4C-4FB6-92D4-E08EDE42E5D5}" srcOrd="2" destOrd="0" presId="urn:microsoft.com/office/officeart/2008/layout/VerticalAccentList"/>
    <dgm:cxn modelId="{8EBA3450-776E-4F06-B4B5-2992564B9F4B}" type="presParOf" srcId="{F2E65024-7ED2-4DDF-8FE2-F24BE255E80C}" destId="{E37C0367-9C02-4AD4-BD8C-CDDD728122AC}" srcOrd="3" destOrd="0" presId="urn:microsoft.com/office/officeart/2008/layout/VerticalAccentList"/>
    <dgm:cxn modelId="{50A2A937-C3FE-4124-984C-5F722B5A6A29}" type="presParOf" srcId="{E37C0367-9C02-4AD4-BD8C-CDDD728122AC}" destId="{7879BA2E-6071-493E-B298-947188667C8F}" srcOrd="0" destOrd="0" presId="urn:microsoft.com/office/officeart/2008/layout/VerticalAccentList"/>
    <dgm:cxn modelId="{1B8C3AF2-2F9E-422E-A726-82E1441D8486}" type="presParOf" srcId="{F2E65024-7ED2-4DDF-8FE2-F24BE255E80C}" destId="{96004038-6C8D-4969-BA27-68E6A4709FDE}" srcOrd="4" destOrd="0" presId="urn:microsoft.com/office/officeart/2008/layout/VerticalAccentList"/>
    <dgm:cxn modelId="{268F0220-C4A2-489D-8BE8-5155EBE4DD0B}" type="presParOf" srcId="{96004038-6C8D-4969-BA27-68E6A4709FDE}" destId="{DED14C54-3C21-478E-813A-755AD321E72B}" srcOrd="0" destOrd="0" presId="urn:microsoft.com/office/officeart/2008/layout/VerticalAccentList"/>
    <dgm:cxn modelId="{05B304E8-55AD-49F9-99B3-45058C78321E}" type="presParOf" srcId="{96004038-6C8D-4969-BA27-68E6A4709FDE}" destId="{C31A6627-3921-4A2D-8661-4DE372666C87}" srcOrd="1" destOrd="0" presId="urn:microsoft.com/office/officeart/2008/layout/VerticalAccentList"/>
    <dgm:cxn modelId="{0C94B144-9F2A-4EB9-92D7-CE710BD9A944}" type="presParOf" srcId="{96004038-6C8D-4969-BA27-68E6A4709FDE}" destId="{9764ABBE-3EF0-4A1D-B1C4-6C93806C5F4F}" srcOrd="2" destOrd="0" presId="urn:microsoft.com/office/officeart/2008/layout/VerticalAccentList"/>
    <dgm:cxn modelId="{7C6BCCA1-046F-4616-A006-490B037F52D0}" type="presParOf" srcId="{96004038-6C8D-4969-BA27-68E6A4709FDE}" destId="{F943E8BD-E77A-452D-B80B-55A5789CB422}" srcOrd="3" destOrd="0" presId="urn:microsoft.com/office/officeart/2008/layout/VerticalAccentList"/>
    <dgm:cxn modelId="{492036A9-2978-4FC9-A433-D24024B98F8D}" type="presParOf" srcId="{96004038-6C8D-4969-BA27-68E6A4709FDE}" destId="{C29948BC-4792-44BB-A348-E696F901916A}" srcOrd="4" destOrd="0" presId="urn:microsoft.com/office/officeart/2008/layout/VerticalAccentList"/>
    <dgm:cxn modelId="{569B5DC0-4C09-47AD-B016-F9E8B5AB4489}" type="presParOf" srcId="{96004038-6C8D-4969-BA27-68E6A4709FDE}" destId="{CAA4DF37-FA78-4AB3-AB6B-B4E143DCF66F}" srcOrd="5" destOrd="0" presId="urn:microsoft.com/office/officeart/2008/layout/VerticalAccentList"/>
    <dgm:cxn modelId="{CD964DD1-68DF-4919-8C8B-4267DF416832}" type="presParOf" srcId="{96004038-6C8D-4969-BA27-68E6A4709FDE}" destId="{FE5A660D-7DC7-4EE0-B8EF-640A2AD33F22}" srcOrd="6" destOrd="0" presId="urn:microsoft.com/office/officeart/2008/layout/VerticalAccentList"/>
    <dgm:cxn modelId="{33C914E8-26D6-4B63-AFA3-77A485857C2F}" type="presParOf" srcId="{96004038-6C8D-4969-BA27-68E6A4709FDE}" destId="{BCDF6F4A-81DF-4A84-B5F9-8A911F18A7DB}" srcOrd="7" destOrd="0" presId="urn:microsoft.com/office/officeart/2008/layout/VerticalAccentList"/>
    <dgm:cxn modelId="{E7A6BB16-072F-4B4F-B183-26F78685B69D}" type="presParOf" srcId="{F2E65024-7ED2-4DDF-8FE2-F24BE255E80C}" destId="{ECF4BD3F-D3E2-412F-AA5A-2C549F9F2C16}" srcOrd="5" destOrd="0" presId="urn:microsoft.com/office/officeart/2008/layout/VerticalAccentList"/>
    <dgm:cxn modelId="{448D58E5-9C2D-4566-90FE-85E6E1D8EA9D}" type="presParOf" srcId="{F2E65024-7ED2-4DDF-8FE2-F24BE255E80C}" destId="{7FD98923-305C-4B5F-A5EC-AD60CAEEEF67}" srcOrd="6" destOrd="0" presId="urn:microsoft.com/office/officeart/2008/layout/VerticalAccentList"/>
    <dgm:cxn modelId="{B87A8431-DDE5-4A12-B102-CDFD82A411A4}" type="presParOf" srcId="{7FD98923-305C-4B5F-A5EC-AD60CAEEEF67}" destId="{1750DEA6-1349-4773-8D83-7B0686008CCB}" srcOrd="0" destOrd="0" presId="urn:microsoft.com/office/officeart/2008/layout/VerticalAccentList"/>
    <dgm:cxn modelId="{69CA9A43-A0A5-41DE-B140-96047D410862}" type="presParOf" srcId="{F2E65024-7ED2-4DDF-8FE2-F24BE255E80C}" destId="{98636034-8CA0-4ADE-BDC4-C0D8FE48C304}" srcOrd="7" destOrd="0" presId="urn:microsoft.com/office/officeart/2008/layout/VerticalAccentList"/>
    <dgm:cxn modelId="{DBCC94E3-5864-456A-9B02-AE7393697654}" type="presParOf" srcId="{98636034-8CA0-4ADE-BDC4-C0D8FE48C304}" destId="{015A0644-3C96-4C98-962B-5D0471BF608E}" srcOrd="0" destOrd="0" presId="urn:microsoft.com/office/officeart/2008/layout/VerticalAccentList"/>
    <dgm:cxn modelId="{D85631B4-94B0-4DD0-BF7D-0128684539A5}" type="presParOf" srcId="{98636034-8CA0-4ADE-BDC4-C0D8FE48C304}" destId="{F7C47965-CCA8-4055-A56D-36FA36F10495}" srcOrd="1" destOrd="0" presId="urn:microsoft.com/office/officeart/2008/layout/VerticalAccentList"/>
    <dgm:cxn modelId="{EAF54B81-7D15-4286-AD6B-92CB085EF00F}" type="presParOf" srcId="{98636034-8CA0-4ADE-BDC4-C0D8FE48C304}" destId="{45214177-EA78-487F-A042-51A83FA331D9}" srcOrd="2" destOrd="0" presId="urn:microsoft.com/office/officeart/2008/layout/VerticalAccentList"/>
    <dgm:cxn modelId="{35A812DF-4D71-4807-8B33-FAAFFA033FE1}" type="presParOf" srcId="{98636034-8CA0-4ADE-BDC4-C0D8FE48C304}" destId="{E370AF20-FED3-4585-9FB5-E15F7689A43F}" srcOrd="3" destOrd="0" presId="urn:microsoft.com/office/officeart/2008/layout/VerticalAccentList"/>
    <dgm:cxn modelId="{484ADF46-2DC8-4F12-A0C2-A712E6A53F33}" type="presParOf" srcId="{98636034-8CA0-4ADE-BDC4-C0D8FE48C304}" destId="{B0F91B8B-242D-43B8-8FE9-29EB22F913B3}" srcOrd="4" destOrd="0" presId="urn:microsoft.com/office/officeart/2008/layout/VerticalAccentList"/>
    <dgm:cxn modelId="{FF848964-1694-4382-BFD4-79F3024505FD}" type="presParOf" srcId="{98636034-8CA0-4ADE-BDC4-C0D8FE48C304}" destId="{91D87061-10B0-4CD9-873D-0519C56E9BA3}" srcOrd="5" destOrd="0" presId="urn:microsoft.com/office/officeart/2008/layout/VerticalAccentList"/>
    <dgm:cxn modelId="{68AB7B2D-60B4-4426-AB47-DEB11806E1F8}" type="presParOf" srcId="{98636034-8CA0-4ADE-BDC4-C0D8FE48C304}" destId="{D4A7A6B8-D189-412B-AC72-947AAFE51E12}" srcOrd="6" destOrd="0" presId="urn:microsoft.com/office/officeart/2008/layout/VerticalAccentList"/>
    <dgm:cxn modelId="{B59E6CA4-D27B-4D13-9DE2-7A6C0CFE8340}" type="presParOf" srcId="{98636034-8CA0-4ADE-BDC4-C0D8FE48C304}" destId="{75C65DA6-CD6F-41DA-9528-0164593EB2E9}"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3866BBD0-A331-4111-B01C-27E4BDE294BD}">
      <dgm:prSet/>
      <dgm:spPr/>
      <dgm:t>
        <a:bodyPr/>
        <a:lstStyle/>
        <a:p>
          <a:r>
            <a:rPr lang="en-US" dirty="0"/>
            <a:t>Learn While Working…</a:t>
          </a:r>
        </a:p>
      </dgm:t>
    </dgm:pt>
    <dgm:pt modelId="{02FECAA2-EACE-483B-8515-29982A692314}" type="parTrans" cxnId="{2B597431-4C63-4857-B171-2420774BD184}">
      <dgm:prSet/>
      <dgm:spPr/>
      <dgm:t>
        <a:bodyPr/>
        <a:lstStyle/>
        <a:p>
          <a:endParaRPr lang="en-US"/>
        </a:p>
      </dgm:t>
    </dgm:pt>
    <dgm:pt modelId="{058C8750-2B9B-44F8-B8E9-77E59EBF248A}" type="sibTrans" cxnId="{2B597431-4C63-4857-B171-2420774BD184}">
      <dgm:prSet/>
      <dgm:spPr/>
      <dgm:t>
        <a:bodyPr/>
        <a:lstStyle/>
        <a:p>
          <a:endParaRPr lang="en-US"/>
        </a:p>
      </dgm:t>
    </dgm:pt>
    <dgm:pt modelId="{90E03293-CBDD-4AF2-8749-6BBC3111F24E}">
      <dgm:prSet custT="1"/>
      <dgm:spPr/>
      <dgm:t>
        <a:bodyPr/>
        <a:lstStyle/>
        <a:p>
          <a:r>
            <a:rPr lang="en-US" sz="1800" dirty="0"/>
            <a:t>Your projects</a:t>
          </a:r>
        </a:p>
      </dgm:t>
    </dgm:pt>
    <dgm:pt modelId="{F83E5E26-9921-4EA1-B7A5-33AFBB2243B7}" type="parTrans" cxnId="{805D7260-0074-4BC3-B0A3-DCD9F7C900E8}">
      <dgm:prSet/>
      <dgm:spPr/>
      <dgm:t>
        <a:bodyPr/>
        <a:lstStyle/>
        <a:p>
          <a:endParaRPr lang="en-US"/>
        </a:p>
      </dgm:t>
    </dgm:pt>
    <dgm:pt modelId="{961B64A3-9308-462A-9779-329A6CF9EBE0}" type="sibTrans" cxnId="{805D7260-0074-4BC3-B0A3-DCD9F7C900E8}">
      <dgm:prSet/>
      <dgm:spPr/>
      <dgm:t>
        <a:bodyPr/>
        <a:lstStyle/>
        <a:p>
          <a:endParaRPr lang="en-US"/>
        </a:p>
      </dgm:t>
    </dgm:pt>
    <dgm:pt modelId="{84C0E450-E34F-4E91-85E7-8B7DF302AAB4}">
      <dgm:prSet custT="1"/>
      <dgm:spPr/>
      <dgm:t>
        <a:bodyPr/>
        <a:lstStyle/>
        <a:p>
          <a:r>
            <a:rPr lang="en-US" sz="1800" dirty="0"/>
            <a:t>Peers Projects</a:t>
          </a:r>
        </a:p>
      </dgm:t>
    </dgm:pt>
    <dgm:pt modelId="{31AA011F-D222-4C06-998B-70808DECC155}" type="parTrans" cxnId="{7540FEA1-36CB-4868-8F75-39296A42ADAC}">
      <dgm:prSet/>
      <dgm:spPr/>
      <dgm:t>
        <a:bodyPr/>
        <a:lstStyle/>
        <a:p>
          <a:endParaRPr lang="en-US"/>
        </a:p>
      </dgm:t>
    </dgm:pt>
    <dgm:pt modelId="{28C471E2-5F14-4C48-B5BC-57E2466F308F}" type="sibTrans" cxnId="{7540FEA1-36CB-4868-8F75-39296A42ADAC}">
      <dgm:prSet/>
      <dgm:spPr/>
      <dgm:t>
        <a:bodyPr/>
        <a:lstStyle/>
        <a:p>
          <a:endParaRPr lang="en-US"/>
        </a:p>
      </dgm:t>
    </dgm:pt>
    <dgm:pt modelId="{D65CF6E7-786E-41BB-8929-0F9328F9762E}">
      <dgm:prSet custT="1"/>
      <dgm:spPr/>
      <dgm:t>
        <a:bodyPr/>
        <a:lstStyle/>
        <a:p>
          <a:r>
            <a:rPr lang="en-US" sz="1800" dirty="0"/>
            <a:t>Others</a:t>
          </a:r>
        </a:p>
      </dgm:t>
    </dgm:pt>
    <dgm:pt modelId="{8C063136-FE50-4340-BB25-C4252E7E4967}" type="parTrans" cxnId="{3C6D5614-2B6A-43E7-95D6-0BC497F838CD}">
      <dgm:prSet/>
      <dgm:spPr/>
      <dgm:t>
        <a:bodyPr/>
        <a:lstStyle/>
        <a:p>
          <a:endParaRPr lang="en-US"/>
        </a:p>
      </dgm:t>
    </dgm:pt>
    <dgm:pt modelId="{C5B8E22C-15D3-4A81-805B-B1E8E7B52A33}" type="sibTrans" cxnId="{3C6D5614-2B6A-43E7-95D6-0BC497F838CD}">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FA6827C-492A-4A17-BF67-F288D8DE59FE}" type="pres">
      <dgm:prSet presAssocID="{3866BBD0-A331-4111-B01C-27E4BDE294BD}" presName="parenttextcomposite" presStyleCnt="0"/>
      <dgm:spPr/>
    </dgm:pt>
    <dgm:pt modelId="{7C90B576-A400-4793-A3FD-8FA56A466CC7}" type="pres">
      <dgm:prSet presAssocID="{3866BBD0-A331-4111-B01C-27E4BDE294BD}" presName="parenttext" presStyleLbl="revTx" presStyleIdx="0" presStyleCnt="1">
        <dgm:presLayoutVars>
          <dgm:chMax/>
          <dgm:chPref val="2"/>
          <dgm:bulletEnabled val="1"/>
        </dgm:presLayoutVars>
      </dgm:prSet>
      <dgm:spPr/>
    </dgm:pt>
    <dgm:pt modelId="{0CE55AFE-400E-4F2E-AC50-DFDCE18A1598}" type="pres">
      <dgm:prSet presAssocID="{3866BBD0-A331-4111-B01C-27E4BDE294BD}" presName="composite" presStyleCnt="0"/>
      <dgm:spPr/>
    </dgm:pt>
    <dgm:pt modelId="{48A3AAA3-6209-4302-8040-51EB1328618C}" type="pres">
      <dgm:prSet presAssocID="{3866BBD0-A331-4111-B01C-27E4BDE294BD}" presName="chevron1" presStyleLbl="alignNode1" presStyleIdx="0" presStyleCnt="7"/>
      <dgm:spPr/>
    </dgm:pt>
    <dgm:pt modelId="{00F3E66C-27F0-451E-87BB-B04663500BDA}" type="pres">
      <dgm:prSet presAssocID="{3866BBD0-A331-4111-B01C-27E4BDE294BD}" presName="chevron2" presStyleLbl="alignNode1" presStyleIdx="1" presStyleCnt="7"/>
      <dgm:spPr/>
    </dgm:pt>
    <dgm:pt modelId="{D34F7DC3-4E39-4CCD-8151-550807E3432D}" type="pres">
      <dgm:prSet presAssocID="{3866BBD0-A331-4111-B01C-27E4BDE294BD}" presName="chevron3" presStyleLbl="alignNode1" presStyleIdx="2" presStyleCnt="7"/>
      <dgm:spPr/>
    </dgm:pt>
    <dgm:pt modelId="{906B065E-8159-450C-A526-76FBD9EF66BB}" type="pres">
      <dgm:prSet presAssocID="{3866BBD0-A331-4111-B01C-27E4BDE294BD}" presName="chevron4" presStyleLbl="alignNode1" presStyleIdx="3" presStyleCnt="7"/>
      <dgm:spPr/>
    </dgm:pt>
    <dgm:pt modelId="{833C70A3-956D-471C-B697-BE60CB26FE2B}" type="pres">
      <dgm:prSet presAssocID="{3866BBD0-A331-4111-B01C-27E4BDE294BD}" presName="chevron5" presStyleLbl="alignNode1" presStyleIdx="4" presStyleCnt="7"/>
      <dgm:spPr/>
    </dgm:pt>
    <dgm:pt modelId="{A2473EE5-454A-4756-A9BB-7899B42D865C}" type="pres">
      <dgm:prSet presAssocID="{3866BBD0-A331-4111-B01C-27E4BDE294BD}" presName="chevron6" presStyleLbl="alignNode1" presStyleIdx="5" presStyleCnt="7"/>
      <dgm:spPr/>
    </dgm:pt>
    <dgm:pt modelId="{313550EE-6FFC-4292-8252-4B08D95F2D80}" type="pres">
      <dgm:prSet presAssocID="{3866BBD0-A331-4111-B01C-27E4BDE294BD}" presName="chevron7" presStyleLbl="alignNode1" presStyleIdx="6" presStyleCnt="7"/>
      <dgm:spPr/>
    </dgm:pt>
    <dgm:pt modelId="{C25992B2-807E-4DF3-8B69-82685550EC82}" type="pres">
      <dgm:prSet presAssocID="{3866BBD0-A331-4111-B01C-27E4BDE294BD}" presName="childtext" presStyleLbl="solidFgAcc1" presStyleIdx="0" presStyleCnt="1" custScaleY="194141">
        <dgm:presLayoutVars>
          <dgm:chMax/>
          <dgm:chPref val="0"/>
          <dgm:bulletEnabled val="1"/>
        </dgm:presLayoutVars>
      </dgm:prSet>
      <dgm:spPr/>
    </dgm:pt>
  </dgm:ptLst>
  <dgm:cxnLst>
    <dgm:cxn modelId="{135A840D-92A7-41A1-9EF1-8DD2899334A7}" type="presOf" srcId="{3866BBD0-A331-4111-B01C-27E4BDE294BD}" destId="{7C90B576-A400-4793-A3FD-8FA56A466CC7}" srcOrd="0" destOrd="0" presId="urn:microsoft.com/office/officeart/2008/layout/VerticalAccentList"/>
    <dgm:cxn modelId="{3C6D5614-2B6A-43E7-95D6-0BC497F838CD}" srcId="{3866BBD0-A331-4111-B01C-27E4BDE294BD}" destId="{D65CF6E7-786E-41BB-8929-0F9328F9762E}" srcOrd="2" destOrd="0" parTransId="{8C063136-FE50-4340-BB25-C4252E7E4967}" sibTransId="{C5B8E22C-15D3-4A81-805B-B1E8E7B52A33}"/>
    <dgm:cxn modelId="{2B597431-4C63-4857-B171-2420774BD184}" srcId="{3E04A716-B106-4C88-ADD4-4F101E22C607}" destId="{3866BBD0-A331-4111-B01C-27E4BDE294BD}" srcOrd="0" destOrd="0" parTransId="{02FECAA2-EACE-483B-8515-29982A692314}" sibTransId="{058C8750-2B9B-44F8-B8E9-77E59EBF248A}"/>
    <dgm:cxn modelId="{09089A3A-1432-44FB-BF15-AD86B5E71CF8}" type="presOf" srcId="{84C0E450-E34F-4E91-85E7-8B7DF302AAB4}" destId="{C25992B2-807E-4DF3-8B69-82685550EC82}" srcOrd="0" destOrd="1" presId="urn:microsoft.com/office/officeart/2008/layout/VerticalAccentList"/>
    <dgm:cxn modelId="{805D7260-0074-4BC3-B0A3-DCD9F7C900E8}" srcId="{3866BBD0-A331-4111-B01C-27E4BDE294BD}" destId="{90E03293-CBDD-4AF2-8749-6BBC3111F24E}" srcOrd="0" destOrd="0" parTransId="{F83E5E26-9921-4EA1-B7A5-33AFBB2243B7}" sibTransId="{961B64A3-9308-462A-9779-329A6CF9EBE0}"/>
    <dgm:cxn modelId="{45CDD077-E010-4778-9BA6-887BC196E641}" type="presOf" srcId="{D65CF6E7-786E-41BB-8929-0F9328F9762E}" destId="{C25992B2-807E-4DF3-8B69-82685550EC82}" srcOrd="0" destOrd="2" presId="urn:microsoft.com/office/officeart/2008/layout/VerticalAccentList"/>
    <dgm:cxn modelId="{2F16C37C-B472-4385-AB41-AE86E8A3C268}" type="presOf" srcId="{90E03293-CBDD-4AF2-8749-6BBC3111F24E}" destId="{C25992B2-807E-4DF3-8B69-82685550EC82}" srcOrd="0" destOrd="0" presId="urn:microsoft.com/office/officeart/2008/layout/VerticalAccentList"/>
    <dgm:cxn modelId="{A575ECA1-C4E2-4353-A321-C754046CF012}" type="presOf" srcId="{3E04A716-B106-4C88-ADD4-4F101E22C607}" destId="{CC29E4EB-DEC7-4A77-B8FD-8661E7B639E7}" srcOrd="0" destOrd="0" presId="urn:microsoft.com/office/officeart/2008/layout/VerticalAccentList"/>
    <dgm:cxn modelId="{7540FEA1-36CB-4868-8F75-39296A42ADAC}" srcId="{3866BBD0-A331-4111-B01C-27E4BDE294BD}" destId="{84C0E450-E34F-4E91-85E7-8B7DF302AAB4}" srcOrd="1" destOrd="0" parTransId="{31AA011F-D222-4C06-998B-70808DECC155}" sibTransId="{28C471E2-5F14-4C48-B5BC-57E2466F308F}"/>
    <dgm:cxn modelId="{6D919063-B73C-4F18-BA3E-63DB606EC715}" type="presParOf" srcId="{CC29E4EB-DEC7-4A77-B8FD-8661E7B639E7}" destId="{DFA6827C-492A-4A17-BF67-F288D8DE59FE}" srcOrd="0" destOrd="0" presId="urn:microsoft.com/office/officeart/2008/layout/VerticalAccentList"/>
    <dgm:cxn modelId="{A0F0F2E6-94BD-4C46-8884-E1A80948D0E6}" type="presParOf" srcId="{DFA6827C-492A-4A17-BF67-F288D8DE59FE}" destId="{7C90B576-A400-4793-A3FD-8FA56A466CC7}" srcOrd="0" destOrd="0" presId="urn:microsoft.com/office/officeart/2008/layout/VerticalAccentList"/>
    <dgm:cxn modelId="{34C996C3-0300-42A2-9D98-47E8CC802951}" type="presParOf" srcId="{CC29E4EB-DEC7-4A77-B8FD-8661E7B639E7}" destId="{0CE55AFE-400E-4F2E-AC50-DFDCE18A1598}" srcOrd="1" destOrd="0" presId="urn:microsoft.com/office/officeart/2008/layout/VerticalAccentList"/>
    <dgm:cxn modelId="{0F0C9684-22A1-4052-B16A-35A500814767}" type="presParOf" srcId="{0CE55AFE-400E-4F2E-AC50-DFDCE18A1598}" destId="{48A3AAA3-6209-4302-8040-51EB1328618C}" srcOrd="0" destOrd="0" presId="urn:microsoft.com/office/officeart/2008/layout/VerticalAccentList"/>
    <dgm:cxn modelId="{ABB44FF2-CB67-4DE2-A2CA-CA48AF4A2D29}" type="presParOf" srcId="{0CE55AFE-400E-4F2E-AC50-DFDCE18A1598}" destId="{00F3E66C-27F0-451E-87BB-B04663500BDA}" srcOrd="1" destOrd="0" presId="urn:microsoft.com/office/officeart/2008/layout/VerticalAccentList"/>
    <dgm:cxn modelId="{09118544-9CF1-43D0-8645-68EBA0A09D61}" type="presParOf" srcId="{0CE55AFE-400E-4F2E-AC50-DFDCE18A1598}" destId="{D34F7DC3-4E39-4CCD-8151-550807E3432D}" srcOrd="2" destOrd="0" presId="urn:microsoft.com/office/officeart/2008/layout/VerticalAccentList"/>
    <dgm:cxn modelId="{211C465E-8D03-44DB-A913-5633EC06E8D7}" type="presParOf" srcId="{0CE55AFE-400E-4F2E-AC50-DFDCE18A1598}" destId="{906B065E-8159-450C-A526-76FBD9EF66BB}" srcOrd="3" destOrd="0" presId="urn:microsoft.com/office/officeart/2008/layout/VerticalAccentList"/>
    <dgm:cxn modelId="{ECBBA817-D95E-4897-9A42-AA3581485C5F}" type="presParOf" srcId="{0CE55AFE-400E-4F2E-AC50-DFDCE18A1598}" destId="{833C70A3-956D-471C-B697-BE60CB26FE2B}" srcOrd="4" destOrd="0" presId="urn:microsoft.com/office/officeart/2008/layout/VerticalAccentList"/>
    <dgm:cxn modelId="{FED5BC6C-2DEB-4A81-89C9-7C21F9027377}" type="presParOf" srcId="{0CE55AFE-400E-4F2E-AC50-DFDCE18A1598}" destId="{A2473EE5-454A-4756-A9BB-7899B42D865C}" srcOrd="5" destOrd="0" presId="urn:microsoft.com/office/officeart/2008/layout/VerticalAccentList"/>
    <dgm:cxn modelId="{0B24C26F-D689-4F9C-B88B-EBB724F09BD7}" type="presParOf" srcId="{0CE55AFE-400E-4F2E-AC50-DFDCE18A1598}" destId="{313550EE-6FFC-4292-8252-4B08D95F2D80}" srcOrd="6" destOrd="0" presId="urn:microsoft.com/office/officeart/2008/layout/VerticalAccentList"/>
    <dgm:cxn modelId="{4BA4D193-33B5-478B-B4BA-64558200A225}" type="presParOf" srcId="{0CE55AFE-400E-4F2E-AC50-DFDCE18A1598}" destId="{C25992B2-807E-4DF3-8B69-82685550EC82}"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E66B2B-0469-4ADF-B8EE-9B52D1FC1C7A}"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1D491E77-FA7E-4607-9D49-B7EFA02976DB}">
      <dgm:prSet phldrT="[Text]" custT="1"/>
      <dgm:spPr/>
      <dgm:t>
        <a:bodyPr/>
        <a:lstStyle/>
        <a:p>
          <a:r>
            <a:rPr lang="en-US" sz="2400" b="1" dirty="0"/>
            <a:t>Practice &amp; Experience</a:t>
          </a:r>
        </a:p>
      </dgm:t>
    </dgm:pt>
    <dgm:pt modelId="{D545B7AD-FFA0-4148-BC74-FB3E691A2E09}" type="parTrans" cxnId="{E1B48328-774B-4E15-AECB-07653BD8AD87}">
      <dgm:prSet/>
      <dgm:spPr/>
      <dgm:t>
        <a:bodyPr/>
        <a:lstStyle/>
        <a:p>
          <a:endParaRPr lang="en-US"/>
        </a:p>
      </dgm:t>
    </dgm:pt>
    <dgm:pt modelId="{A620F812-EEA4-409A-A818-BDB74E99D4DB}" type="sibTrans" cxnId="{E1B48328-774B-4E15-AECB-07653BD8AD87}">
      <dgm:prSet/>
      <dgm:spPr/>
      <dgm:t>
        <a:bodyPr/>
        <a:lstStyle/>
        <a:p>
          <a:endParaRPr lang="en-US"/>
        </a:p>
      </dgm:t>
    </dgm:pt>
    <dgm:pt modelId="{E5B1F756-9FCC-4BB4-BECC-34CE4005FF03}">
      <dgm:prSet phldrT="[Text]"/>
      <dgm:spPr/>
      <dgm:t>
        <a:bodyPr/>
        <a:lstStyle/>
        <a:p>
          <a:r>
            <a:rPr lang="en-US" dirty="0"/>
            <a:t>NO SUBSTITUTE!  Do the labs; Azure @ Work</a:t>
          </a:r>
        </a:p>
      </dgm:t>
    </dgm:pt>
    <dgm:pt modelId="{3611B761-3252-4ABE-92E9-3707386656C6}" type="parTrans" cxnId="{35050068-B2A7-49CC-9449-208DB850ACBF}">
      <dgm:prSet/>
      <dgm:spPr/>
      <dgm:t>
        <a:bodyPr/>
        <a:lstStyle/>
        <a:p>
          <a:endParaRPr lang="en-US"/>
        </a:p>
      </dgm:t>
    </dgm:pt>
    <dgm:pt modelId="{0E5956E5-84DF-4328-B34F-BF4AF6BF68EB}" type="sibTrans" cxnId="{35050068-B2A7-49CC-9449-208DB850ACBF}">
      <dgm:prSet/>
      <dgm:spPr/>
      <dgm:t>
        <a:bodyPr/>
        <a:lstStyle/>
        <a:p>
          <a:endParaRPr lang="en-US"/>
        </a:p>
      </dgm:t>
    </dgm:pt>
    <dgm:pt modelId="{8AC4CBA8-E2CD-47D6-B027-D730DEDEE821}">
      <dgm:prSet phldrT="[Text]" custT="1"/>
      <dgm:spPr/>
      <dgm:t>
        <a:bodyPr/>
        <a:lstStyle/>
        <a:p>
          <a:r>
            <a:rPr lang="en-US" sz="2400" b="1" dirty="0"/>
            <a:t>Take the test</a:t>
          </a:r>
        </a:p>
      </dgm:t>
    </dgm:pt>
    <dgm:pt modelId="{AA41EB38-FA59-47E0-BFC6-CEB0E8F922CA}" type="parTrans" cxnId="{E45BB270-A3DC-4494-B9B8-27362430BE8E}">
      <dgm:prSet/>
      <dgm:spPr/>
      <dgm:t>
        <a:bodyPr/>
        <a:lstStyle/>
        <a:p>
          <a:endParaRPr lang="en-US"/>
        </a:p>
      </dgm:t>
    </dgm:pt>
    <dgm:pt modelId="{37DA1E38-AF83-411A-A978-A88E0A169C77}" type="sibTrans" cxnId="{E45BB270-A3DC-4494-B9B8-27362430BE8E}">
      <dgm:prSet/>
      <dgm:spPr/>
      <dgm:t>
        <a:bodyPr/>
        <a:lstStyle/>
        <a:p>
          <a:endParaRPr lang="en-US"/>
        </a:p>
      </dgm:t>
    </dgm:pt>
    <dgm:pt modelId="{CEB37AC2-AECD-4997-B05E-7FF31CAEC308}">
      <dgm:prSet phldrT="[Text]"/>
      <dgm:spPr/>
      <dgm:t>
        <a:bodyPr/>
        <a:lstStyle/>
        <a:p>
          <a:r>
            <a:rPr lang="en-US" dirty="0"/>
            <a:t>2nd shot?  Much easier after you take it because you know where you are weak </a:t>
          </a:r>
          <a:r>
            <a:rPr lang="en-US" dirty="0">
              <a:sym typeface="Wingdings" panose="05000000000000000000" pitchFamily="2" charset="2"/>
            </a:rPr>
            <a:t></a:t>
          </a:r>
          <a:endParaRPr lang="en-US" dirty="0"/>
        </a:p>
      </dgm:t>
    </dgm:pt>
    <dgm:pt modelId="{BBAA8A35-47B6-4E34-94BC-0A135961C797}" type="parTrans" cxnId="{9F7F76AE-9F17-4F3A-9747-4FE13C5AABEE}">
      <dgm:prSet/>
      <dgm:spPr/>
      <dgm:t>
        <a:bodyPr/>
        <a:lstStyle/>
        <a:p>
          <a:endParaRPr lang="en-US"/>
        </a:p>
      </dgm:t>
    </dgm:pt>
    <dgm:pt modelId="{446FEE1D-84E6-4E9C-A86D-042CE49606A4}" type="sibTrans" cxnId="{9F7F76AE-9F17-4F3A-9747-4FE13C5AABEE}">
      <dgm:prSet/>
      <dgm:spPr/>
      <dgm:t>
        <a:bodyPr/>
        <a:lstStyle/>
        <a:p>
          <a:endParaRPr lang="en-US"/>
        </a:p>
      </dgm:t>
    </dgm:pt>
    <dgm:pt modelId="{3D578F43-43FF-4D19-B740-F6A581E0C8BE}">
      <dgm:prSet phldrT="[Text]" custT="1"/>
      <dgm:spPr/>
      <dgm:t>
        <a:bodyPr/>
        <a:lstStyle/>
        <a:p>
          <a:r>
            <a:rPr lang="en-US" sz="2400" b="1" dirty="0"/>
            <a:t>Ultra Focus With Intent</a:t>
          </a:r>
          <a:endParaRPr lang="en-US" sz="2400" dirty="0"/>
        </a:p>
      </dgm:t>
    </dgm:pt>
    <dgm:pt modelId="{B1DF630F-547B-4EED-AA02-BE2637267599}" type="parTrans" cxnId="{B497D373-785B-4371-ADCF-60066E2EEF69}">
      <dgm:prSet/>
      <dgm:spPr/>
      <dgm:t>
        <a:bodyPr/>
        <a:lstStyle/>
        <a:p>
          <a:endParaRPr lang="en-US"/>
        </a:p>
      </dgm:t>
    </dgm:pt>
    <dgm:pt modelId="{4F6E35F7-3B36-4589-9347-3402087CB7B5}" type="sibTrans" cxnId="{B497D373-785B-4371-ADCF-60066E2EEF69}">
      <dgm:prSet/>
      <dgm:spPr/>
      <dgm:t>
        <a:bodyPr/>
        <a:lstStyle/>
        <a:p>
          <a:endParaRPr lang="en-US"/>
        </a:p>
      </dgm:t>
    </dgm:pt>
    <dgm:pt modelId="{424EF410-0D6D-4CAB-A09F-259FF6E93C90}">
      <dgm:prSet phldrT="[Text]"/>
      <dgm:spPr/>
      <dgm:t>
        <a:bodyPr/>
        <a:lstStyle/>
        <a:p>
          <a:r>
            <a:rPr lang="en-US" dirty="0"/>
            <a:t>After you pass the test, you can work on learning more and developing your career</a:t>
          </a:r>
        </a:p>
      </dgm:t>
    </dgm:pt>
    <dgm:pt modelId="{3B90BACB-D786-4972-BC60-54EED162A3DB}" type="parTrans" cxnId="{83100D7F-FAC8-4AD1-A07F-7C51F5EAF413}">
      <dgm:prSet/>
      <dgm:spPr/>
      <dgm:t>
        <a:bodyPr/>
        <a:lstStyle/>
        <a:p>
          <a:endParaRPr lang="en-US"/>
        </a:p>
      </dgm:t>
    </dgm:pt>
    <dgm:pt modelId="{D88EE2D5-3A0C-4636-BAF4-9A7BE70ED44B}" type="sibTrans" cxnId="{83100D7F-FAC8-4AD1-A07F-7C51F5EAF413}">
      <dgm:prSet/>
      <dgm:spPr/>
      <dgm:t>
        <a:bodyPr/>
        <a:lstStyle/>
        <a:p>
          <a:endParaRPr lang="en-US"/>
        </a:p>
      </dgm:t>
    </dgm:pt>
    <dgm:pt modelId="{732E8814-6700-4088-9D4F-79D6EBFE85C8}">
      <dgm:prSet phldrT="[Text]" custT="1"/>
      <dgm:spPr/>
      <dgm:t>
        <a:bodyPr/>
        <a:lstStyle/>
        <a:p>
          <a:r>
            <a:rPr lang="en-US" sz="2400" b="1" dirty="0"/>
            <a:t>Objective – Pass the Exam!</a:t>
          </a:r>
        </a:p>
      </dgm:t>
    </dgm:pt>
    <dgm:pt modelId="{8B9DA1FF-4074-44DF-85F3-C77545F2A4AE}" type="parTrans" cxnId="{CEFAF6A1-4164-4CCB-8FAF-CE5C4AF82038}">
      <dgm:prSet/>
      <dgm:spPr/>
      <dgm:t>
        <a:bodyPr/>
        <a:lstStyle/>
        <a:p>
          <a:endParaRPr lang="en-US"/>
        </a:p>
      </dgm:t>
    </dgm:pt>
    <dgm:pt modelId="{CB4D2896-806E-4DEA-B7E5-B619E601BFA8}" type="sibTrans" cxnId="{CEFAF6A1-4164-4CCB-8FAF-CE5C4AF82038}">
      <dgm:prSet/>
      <dgm:spPr/>
      <dgm:t>
        <a:bodyPr/>
        <a:lstStyle/>
        <a:p>
          <a:endParaRPr lang="en-US"/>
        </a:p>
      </dgm:t>
    </dgm:pt>
    <dgm:pt modelId="{F19C5227-60FB-4070-8A1B-9FFED758FFC3}">
      <dgm:prSet phldrT="[Text]" custT="1"/>
      <dgm:spPr/>
      <dgm:t>
        <a:bodyPr/>
        <a:lstStyle/>
        <a:p>
          <a:r>
            <a:rPr lang="en-US" sz="2000" dirty="0"/>
            <a:t>Don’t</a:t>
          </a:r>
          <a:r>
            <a:rPr lang="en-US" sz="2400" dirty="0"/>
            <a:t> let your mind wander; You are on a mission to learn FAST!</a:t>
          </a:r>
        </a:p>
      </dgm:t>
    </dgm:pt>
    <dgm:pt modelId="{1F9B5B3C-CF76-4BA7-B832-778EE1446896}" type="parTrans" cxnId="{2AA95DB5-949B-4B91-954D-DCC7A9D004A9}">
      <dgm:prSet/>
      <dgm:spPr/>
      <dgm:t>
        <a:bodyPr/>
        <a:lstStyle/>
        <a:p>
          <a:endParaRPr lang="en-US"/>
        </a:p>
      </dgm:t>
    </dgm:pt>
    <dgm:pt modelId="{30518D84-5DC1-424B-8C53-F5208825021D}" type="sibTrans" cxnId="{2AA95DB5-949B-4B91-954D-DCC7A9D004A9}">
      <dgm:prSet/>
      <dgm:spPr/>
      <dgm:t>
        <a:bodyPr/>
        <a:lstStyle/>
        <a:p>
          <a:endParaRPr lang="en-US"/>
        </a:p>
      </dgm:t>
    </dgm:pt>
    <dgm:pt modelId="{D62BA736-8055-48B7-9AEE-1C38EEFD8D99}" type="pres">
      <dgm:prSet presAssocID="{C1E66B2B-0469-4ADF-B8EE-9B52D1FC1C7A}" presName="Name0" presStyleCnt="0">
        <dgm:presLayoutVars>
          <dgm:chMax/>
          <dgm:chPref/>
          <dgm:dir/>
        </dgm:presLayoutVars>
      </dgm:prSet>
      <dgm:spPr/>
    </dgm:pt>
    <dgm:pt modelId="{5E6BBCDD-99C4-43A8-BA64-A56493F3455D}" type="pres">
      <dgm:prSet presAssocID="{1D491E77-FA7E-4607-9D49-B7EFA02976DB}" presName="parenttextcomposite" presStyleCnt="0"/>
      <dgm:spPr/>
    </dgm:pt>
    <dgm:pt modelId="{537C5C5C-27BB-4312-8A19-25E7DD9F1A62}" type="pres">
      <dgm:prSet presAssocID="{1D491E77-FA7E-4607-9D49-B7EFA02976DB}" presName="parenttext" presStyleLbl="revTx" presStyleIdx="0" presStyleCnt="4">
        <dgm:presLayoutVars>
          <dgm:chMax/>
          <dgm:chPref val="2"/>
          <dgm:bulletEnabled val="1"/>
        </dgm:presLayoutVars>
      </dgm:prSet>
      <dgm:spPr/>
    </dgm:pt>
    <dgm:pt modelId="{E9AFA4A7-88B6-4239-9A6B-0B1261BA78A2}" type="pres">
      <dgm:prSet presAssocID="{1D491E77-FA7E-4607-9D49-B7EFA02976DB}" presName="composite" presStyleCnt="0"/>
      <dgm:spPr/>
    </dgm:pt>
    <dgm:pt modelId="{85CEC161-112B-4CD9-BE2D-B800BE6F9038}" type="pres">
      <dgm:prSet presAssocID="{1D491E77-FA7E-4607-9D49-B7EFA02976DB}" presName="chevron1" presStyleLbl="alignNode1" presStyleIdx="0" presStyleCnt="28"/>
      <dgm:spPr/>
    </dgm:pt>
    <dgm:pt modelId="{4E4C55E2-1E3C-4A39-8B1E-B93E9CCFB6E4}" type="pres">
      <dgm:prSet presAssocID="{1D491E77-FA7E-4607-9D49-B7EFA02976DB}" presName="chevron2" presStyleLbl="alignNode1" presStyleIdx="1" presStyleCnt="28"/>
      <dgm:spPr/>
    </dgm:pt>
    <dgm:pt modelId="{1DC0FA92-24F1-416E-BEC8-2F209C65A5BB}" type="pres">
      <dgm:prSet presAssocID="{1D491E77-FA7E-4607-9D49-B7EFA02976DB}" presName="chevron3" presStyleLbl="alignNode1" presStyleIdx="2" presStyleCnt="28"/>
      <dgm:spPr/>
    </dgm:pt>
    <dgm:pt modelId="{E8824CA5-4241-4D0C-94FE-2C33A7BAFD19}" type="pres">
      <dgm:prSet presAssocID="{1D491E77-FA7E-4607-9D49-B7EFA02976DB}" presName="chevron4" presStyleLbl="alignNode1" presStyleIdx="3" presStyleCnt="28"/>
      <dgm:spPr/>
    </dgm:pt>
    <dgm:pt modelId="{3F5D18AE-98F0-4802-A2C0-CAC4475A9A66}" type="pres">
      <dgm:prSet presAssocID="{1D491E77-FA7E-4607-9D49-B7EFA02976DB}" presName="chevron5" presStyleLbl="alignNode1" presStyleIdx="4" presStyleCnt="28"/>
      <dgm:spPr/>
    </dgm:pt>
    <dgm:pt modelId="{87A0C9B4-2717-4739-A556-BE89D380298C}" type="pres">
      <dgm:prSet presAssocID="{1D491E77-FA7E-4607-9D49-B7EFA02976DB}" presName="chevron6" presStyleLbl="alignNode1" presStyleIdx="5" presStyleCnt="28"/>
      <dgm:spPr/>
    </dgm:pt>
    <dgm:pt modelId="{48C04F5B-F05F-4623-8534-324141AD2F23}" type="pres">
      <dgm:prSet presAssocID="{1D491E77-FA7E-4607-9D49-B7EFA02976DB}" presName="chevron7" presStyleLbl="alignNode1" presStyleIdx="6" presStyleCnt="28"/>
      <dgm:spPr/>
    </dgm:pt>
    <dgm:pt modelId="{8BC7CC22-1276-4B72-AF5D-7863C6152902}" type="pres">
      <dgm:prSet presAssocID="{1D491E77-FA7E-4607-9D49-B7EFA02976DB}" presName="childtext" presStyleLbl="solidFgAcc1" presStyleIdx="0" presStyleCnt="4">
        <dgm:presLayoutVars>
          <dgm:chMax/>
          <dgm:chPref val="0"/>
          <dgm:bulletEnabled val="1"/>
        </dgm:presLayoutVars>
      </dgm:prSet>
      <dgm:spPr/>
    </dgm:pt>
    <dgm:pt modelId="{71586CC5-07FF-4CD1-BFA9-37F5D0DCAF05}" type="pres">
      <dgm:prSet presAssocID="{A620F812-EEA4-409A-A818-BDB74E99D4DB}" presName="sibTrans" presStyleCnt="0"/>
      <dgm:spPr/>
    </dgm:pt>
    <dgm:pt modelId="{33A5DACF-EB22-4DCB-B70B-4F565AFCF93E}" type="pres">
      <dgm:prSet presAssocID="{8AC4CBA8-E2CD-47D6-B027-D730DEDEE821}" presName="parenttextcomposite" presStyleCnt="0"/>
      <dgm:spPr/>
    </dgm:pt>
    <dgm:pt modelId="{9722DE8D-AF8E-48CB-BCFE-4B949D8CFB9B}" type="pres">
      <dgm:prSet presAssocID="{8AC4CBA8-E2CD-47D6-B027-D730DEDEE821}" presName="parenttext" presStyleLbl="revTx" presStyleIdx="1" presStyleCnt="4">
        <dgm:presLayoutVars>
          <dgm:chMax/>
          <dgm:chPref val="2"/>
          <dgm:bulletEnabled val="1"/>
        </dgm:presLayoutVars>
      </dgm:prSet>
      <dgm:spPr/>
    </dgm:pt>
    <dgm:pt modelId="{15F95FC2-8F17-47C9-935E-3FE2182BA46F}" type="pres">
      <dgm:prSet presAssocID="{8AC4CBA8-E2CD-47D6-B027-D730DEDEE821}" presName="composite" presStyleCnt="0"/>
      <dgm:spPr/>
    </dgm:pt>
    <dgm:pt modelId="{CCDC95B0-206D-4A5C-8336-4AB3EB6ED06C}" type="pres">
      <dgm:prSet presAssocID="{8AC4CBA8-E2CD-47D6-B027-D730DEDEE821}" presName="chevron1" presStyleLbl="alignNode1" presStyleIdx="7" presStyleCnt="28"/>
      <dgm:spPr/>
    </dgm:pt>
    <dgm:pt modelId="{4C38F071-683F-44DE-A835-C50D11088D7D}" type="pres">
      <dgm:prSet presAssocID="{8AC4CBA8-E2CD-47D6-B027-D730DEDEE821}" presName="chevron2" presStyleLbl="alignNode1" presStyleIdx="8" presStyleCnt="28"/>
      <dgm:spPr/>
    </dgm:pt>
    <dgm:pt modelId="{5BBA42FF-F4B6-4FC2-86B6-EFC2F086D1BE}" type="pres">
      <dgm:prSet presAssocID="{8AC4CBA8-E2CD-47D6-B027-D730DEDEE821}" presName="chevron3" presStyleLbl="alignNode1" presStyleIdx="9" presStyleCnt="28"/>
      <dgm:spPr/>
    </dgm:pt>
    <dgm:pt modelId="{9543A743-7FF4-450B-8E6E-B4E1EF929D2B}" type="pres">
      <dgm:prSet presAssocID="{8AC4CBA8-E2CD-47D6-B027-D730DEDEE821}" presName="chevron4" presStyleLbl="alignNode1" presStyleIdx="10" presStyleCnt="28"/>
      <dgm:spPr/>
    </dgm:pt>
    <dgm:pt modelId="{1759E5F4-204D-4A17-B0E7-445210005D14}" type="pres">
      <dgm:prSet presAssocID="{8AC4CBA8-E2CD-47D6-B027-D730DEDEE821}" presName="chevron5" presStyleLbl="alignNode1" presStyleIdx="11" presStyleCnt="28"/>
      <dgm:spPr/>
    </dgm:pt>
    <dgm:pt modelId="{B0D2D155-8B61-4099-9F77-1278418DC8EB}" type="pres">
      <dgm:prSet presAssocID="{8AC4CBA8-E2CD-47D6-B027-D730DEDEE821}" presName="chevron6" presStyleLbl="alignNode1" presStyleIdx="12" presStyleCnt="28"/>
      <dgm:spPr/>
    </dgm:pt>
    <dgm:pt modelId="{C9BACA11-FBD8-4580-BC14-313A0075ECE0}" type="pres">
      <dgm:prSet presAssocID="{8AC4CBA8-E2CD-47D6-B027-D730DEDEE821}" presName="chevron7" presStyleLbl="alignNode1" presStyleIdx="13" presStyleCnt="28"/>
      <dgm:spPr/>
    </dgm:pt>
    <dgm:pt modelId="{538DE373-4C16-43BA-8630-85A0426EFAB9}" type="pres">
      <dgm:prSet presAssocID="{8AC4CBA8-E2CD-47D6-B027-D730DEDEE821}" presName="childtext" presStyleLbl="solidFgAcc1" presStyleIdx="1" presStyleCnt="4">
        <dgm:presLayoutVars>
          <dgm:chMax/>
          <dgm:chPref val="0"/>
          <dgm:bulletEnabled val="1"/>
        </dgm:presLayoutVars>
      </dgm:prSet>
      <dgm:spPr/>
    </dgm:pt>
    <dgm:pt modelId="{C7E779AA-0437-4DDA-B6BD-BD62CC3CC875}" type="pres">
      <dgm:prSet presAssocID="{37DA1E38-AF83-411A-A978-A88E0A169C77}" presName="sibTrans" presStyleCnt="0"/>
      <dgm:spPr/>
    </dgm:pt>
    <dgm:pt modelId="{EFE30786-5A23-4723-A46F-F9B3E0287054}" type="pres">
      <dgm:prSet presAssocID="{3D578F43-43FF-4D19-B740-F6A581E0C8BE}" presName="parenttextcomposite" presStyleCnt="0"/>
      <dgm:spPr/>
    </dgm:pt>
    <dgm:pt modelId="{33546F62-5B4D-463E-A629-8D7CB5443E0A}" type="pres">
      <dgm:prSet presAssocID="{3D578F43-43FF-4D19-B740-F6A581E0C8BE}" presName="parenttext" presStyleLbl="revTx" presStyleIdx="2" presStyleCnt="4">
        <dgm:presLayoutVars>
          <dgm:chMax/>
          <dgm:chPref val="2"/>
          <dgm:bulletEnabled val="1"/>
        </dgm:presLayoutVars>
      </dgm:prSet>
      <dgm:spPr/>
    </dgm:pt>
    <dgm:pt modelId="{0A71C340-640E-4052-856F-42BD7A95EF1A}" type="pres">
      <dgm:prSet presAssocID="{3D578F43-43FF-4D19-B740-F6A581E0C8BE}" presName="composite" presStyleCnt="0"/>
      <dgm:spPr/>
    </dgm:pt>
    <dgm:pt modelId="{0429CF0C-436E-4B08-9AAE-0B6DC525767F}" type="pres">
      <dgm:prSet presAssocID="{3D578F43-43FF-4D19-B740-F6A581E0C8BE}" presName="chevron1" presStyleLbl="alignNode1" presStyleIdx="14" presStyleCnt="28"/>
      <dgm:spPr/>
    </dgm:pt>
    <dgm:pt modelId="{E146A7FC-A51E-4B6C-86BD-5A26735B215D}" type="pres">
      <dgm:prSet presAssocID="{3D578F43-43FF-4D19-B740-F6A581E0C8BE}" presName="chevron2" presStyleLbl="alignNode1" presStyleIdx="15" presStyleCnt="28"/>
      <dgm:spPr/>
    </dgm:pt>
    <dgm:pt modelId="{E8101A80-B9DF-4179-B688-E50E5B58A390}" type="pres">
      <dgm:prSet presAssocID="{3D578F43-43FF-4D19-B740-F6A581E0C8BE}" presName="chevron3" presStyleLbl="alignNode1" presStyleIdx="16" presStyleCnt="28"/>
      <dgm:spPr/>
    </dgm:pt>
    <dgm:pt modelId="{EEA59DE8-62E1-4EFF-BC01-ED85D5DB50DC}" type="pres">
      <dgm:prSet presAssocID="{3D578F43-43FF-4D19-B740-F6A581E0C8BE}" presName="chevron4" presStyleLbl="alignNode1" presStyleIdx="17" presStyleCnt="28"/>
      <dgm:spPr/>
    </dgm:pt>
    <dgm:pt modelId="{81197D27-422E-4928-AC01-1C9A400C1613}" type="pres">
      <dgm:prSet presAssocID="{3D578F43-43FF-4D19-B740-F6A581E0C8BE}" presName="chevron5" presStyleLbl="alignNode1" presStyleIdx="18" presStyleCnt="28"/>
      <dgm:spPr/>
    </dgm:pt>
    <dgm:pt modelId="{5C0977BD-C1B3-464B-A9FB-0F547B90C9A4}" type="pres">
      <dgm:prSet presAssocID="{3D578F43-43FF-4D19-B740-F6A581E0C8BE}" presName="chevron6" presStyleLbl="alignNode1" presStyleIdx="19" presStyleCnt="28"/>
      <dgm:spPr/>
    </dgm:pt>
    <dgm:pt modelId="{704ED82B-3A30-4462-BB06-88779C06DE10}" type="pres">
      <dgm:prSet presAssocID="{3D578F43-43FF-4D19-B740-F6A581E0C8BE}" presName="chevron7" presStyleLbl="alignNode1" presStyleIdx="20" presStyleCnt="28"/>
      <dgm:spPr/>
    </dgm:pt>
    <dgm:pt modelId="{D91ADDC0-7DD6-40BD-A435-6119E05C0184}" type="pres">
      <dgm:prSet presAssocID="{3D578F43-43FF-4D19-B740-F6A581E0C8BE}" presName="childtext" presStyleLbl="solidFgAcc1" presStyleIdx="2" presStyleCnt="4">
        <dgm:presLayoutVars>
          <dgm:chMax/>
          <dgm:chPref val="0"/>
          <dgm:bulletEnabled val="1"/>
        </dgm:presLayoutVars>
      </dgm:prSet>
      <dgm:spPr/>
    </dgm:pt>
    <dgm:pt modelId="{F92F676B-245D-47A4-A272-41C44CA8F3D8}" type="pres">
      <dgm:prSet presAssocID="{4F6E35F7-3B36-4589-9347-3402087CB7B5}" presName="sibTrans" presStyleCnt="0"/>
      <dgm:spPr/>
    </dgm:pt>
    <dgm:pt modelId="{4A7AF770-CE21-4761-BBA7-2EB1F597C5B3}" type="pres">
      <dgm:prSet presAssocID="{732E8814-6700-4088-9D4F-79D6EBFE85C8}" presName="parenttextcomposite" presStyleCnt="0"/>
      <dgm:spPr/>
    </dgm:pt>
    <dgm:pt modelId="{F4F5E702-F8AF-4476-A9BE-16E6B315C8D3}" type="pres">
      <dgm:prSet presAssocID="{732E8814-6700-4088-9D4F-79D6EBFE85C8}" presName="parenttext" presStyleLbl="revTx" presStyleIdx="3" presStyleCnt="4">
        <dgm:presLayoutVars>
          <dgm:chMax/>
          <dgm:chPref val="2"/>
          <dgm:bulletEnabled val="1"/>
        </dgm:presLayoutVars>
      </dgm:prSet>
      <dgm:spPr/>
    </dgm:pt>
    <dgm:pt modelId="{044FBE1B-4042-4B74-A295-BE8751F9C6AF}" type="pres">
      <dgm:prSet presAssocID="{732E8814-6700-4088-9D4F-79D6EBFE85C8}" presName="composite" presStyleCnt="0"/>
      <dgm:spPr/>
    </dgm:pt>
    <dgm:pt modelId="{847370B5-C8A8-4175-BFBC-900745DC9F55}" type="pres">
      <dgm:prSet presAssocID="{732E8814-6700-4088-9D4F-79D6EBFE85C8}" presName="chevron1" presStyleLbl="alignNode1" presStyleIdx="21" presStyleCnt="28"/>
      <dgm:spPr/>
    </dgm:pt>
    <dgm:pt modelId="{BB4FF437-077E-435A-B4EB-74479F49352A}" type="pres">
      <dgm:prSet presAssocID="{732E8814-6700-4088-9D4F-79D6EBFE85C8}" presName="chevron2" presStyleLbl="alignNode1" presStyleIdx="22" presStyleCnt="28"/>
      <dgm:spPr/>
    </dgm:pt>
    <dgm:pt modelId="{91506A7C-0125-4D40-8134-3F5BCEF44072}" type="pres">
      <dgm:prSet presAssocID="{732E8814-6700-4088-9D4F-79D6EBFE85C8}" presName="chevron3" presStyleLbl="alignNode1" presStyleIdx="23" presStyleCnt="28"/>
      <dgm:spPr/>
    </dgm:pt>
    <dgm:pt modelId="{459EAB88-F255-4BDE-AA3F-10155F959255}" type="pres">
      <dgm:prSet presAssocID="{732E8814-6700-4088-9D4F-79D6EBFE85C8}" presName="chevron4" presStyleLbl="alignNode1" presStyleIdx="24" presStyleCnt="28"/>
      <dgm:spPr/>
    </dgm:pt>
    <dgm:pt modelId="{5FAEC293-28B9-4F39-BB7E-A69C5BACE444}" type="pres">
      <dgm:prSet presAssocID="{732E8814-6700-4088-9D4F-79D6EBFE85C8}" presName="chevron5" presStyleLbl="alignNode1" presStyleIdx="25" presStyleCnt="28"/>
      <dgm:spPr/>
    </dgm:pt>
    <dgm:pt modelId="{8EADE5D5-3BD7-4189-BCB0-C41B7B458231}" type="pres">
      <dgm:prSet presAssocID="{732E8814-6700-4088-9D4F-79D6EBFE85C8}" presName="chevron6" presStyleLbl="alignNode1" presStyleIdx="26" presStyleCnt="28"/>
      <dgm:spPr/>
    </dgm:pt>
    <dgm:pt modelId="{2A0170BA-0FE0-470F-9347-114A5FDA8CED}" type="pres">
      <dgm:prSet presAssocID="{732E8814-6700-4088-9D4F-79D6EBFE85C8}" presName="chevron7" presStyleLbl="alignNode1" presStyleIdx="27" presStyleCnt="28"/>
      <dgm:spPr/>
    </dgm:pt>
    <dgm:pt modelId="{D9A8A92A-21B6-4EEF-9E0D-938E2818B0AB}" type="pres">
      <dgm:prSet presAssocID="{732E8814-6700-4088-9D4F-79D6EBFE85C8}" presName="childtext" presStyleLbl="solidFgAcc1" presStyleIdx="3" presStyleCnt="4">
        <dgm:presLayoutVars>
          <dgm:chMax/>
          <dgm:chPref val="0"/>
          <dgm:bulletEnabled val="1"/>
        </dgm:presLayoutVars>
      </dgm:prSet>
      <dgm:spPr/>
    </dgm:pt>
  </dgm:ptLst>
  <dgm:cxnLst>
    <dgm:cxn modelId="{DCE03E08-3DA1-4D4D-8139-DBE9662BC2F1}" type="presOf" srcId="{424EF410-0D6D-4CAB-A09F-259FF6E93C90}" destId="{D9A8A92A-21B6-4EEF-9E0D-938E2818B0AB}" srcOrd="0" destOrd="0" presId="urn:microsoft.com/office/officeart/2008/layout/VerticalAccentList"/>
    <dgm:cxn modelId="{333C9320-6649-425C-B542-C30822266669}" type="presOf" srcId="{1D491E77-FA7E-4607-9D49-B7EFA02976DB}" destId="{537C5C5C-27BB-4312-8A19-25E7DD9F1A62}" srcOrd="0" destOrd="0" presId="urn:microsoft.com/office/officeart/2008/layout/VerticalAccentList"/>
    <dgm:cxn modelId="{E1B48328-774B-4E15-AECB-07653BD8AD87}" srcId="{C1E66B2B-0469-4ADF-B8EE-9B52D1FC1C7A}" destId="{1D491E77-FA7E-4607-9D49-B7EFA02976DB}" srcOrd="0" destOrd="0" parTransId="{D545B7AD-FFA0-4148-BC74-FB3E691A2E09}" sibTransId="{A620F812-EEA4-409A-A818-BDB74E99D4DB}"/>
    <dgm:cxn modelId="{A50E8C32-71E9-41B1-9074-6904EC693C2F}" type="presOf" srcId="{CEB37AC2-AECD-4997-B05E-7FF31CAEC308}" destId="{538DE373-4C16-43BA-8630-85A0426EFAB9}" srcOrd="0" destOrd="0" presId="urn:microsoft.com/office/officeart/2008/layout/VerticalAccentList"/>
    <dgm:cxn modelId="{F2AAE033-E06D-4B28-804A-FCA192BD00A7}" type="presOf" srcId="{F19C5227-60FB-4070-8A1B-9FFED758FFC3}" destId="{D91ADDC0-7DD6-40BD-A435-6119E05C0184}" srcOrd="0" destOrd="0" presId="urn:microsoft.com/office/officeart/2008/layout/VerticalAccentList"/>
    <dgm:cxn modelId="{A1E55F37-01DE-403D-B2E6-C9687A462391}" type="presOf" srcId="{8AC4CBA8-E2CD-47D6-B027-D730DEDEE821}" destId="{9722DE8D-AF8E-48CB-BCFE-4B949D8CFB9B}" srcOrd="0" destOrd="0" presId="urn:microsoft.com/office/officeart/2008/layout/VerticalAccentList"/>
    <dgm:cxn modelId="{86706467-6230-4F70-8C02-F9CBFF6B4184}" type="presOf" srcId="{732E8814-6700-4088-9D4F-79D6EBFE85C8}" destId="{F4F5E702-F8AF-4476-A9BE-16E6B315C8D3}" srcOrd="0" destOrd="0" presId="urn:microsoft.com/office/officeart/2008/layout/VerticalAccentList"/>
    <dgm:cxn modelId="{35050068-B2A7-49CC-9449-208DB850ACBF}" srcId="{1D491E77-FA7E-4607-9D49-B7EFA02976DB}" destId="{E5B1F756-9FCC-4BB4-BECC-34CE4005FF03}" srcOrd="0" destOrd="0" parTransId="{3611B761-3252-4ABE-92E9-3707386656C6}" sibTransId="{0E5956E5-84DF-4328-B34F-BF4AF6BF68EB}"/>
    <dgm:cxn modelId="{E45BB270-A3DC-4494-B9B8-27362430BE8E}" srcId="{C1E66B2B-0469-4ADF-B8EE-9B52D1FC1C7A}" destId="{8AC4CBA8-E2CD-47D6-B027-D730DEDEE821}" srcOrd="1" destOrd="0" parTransId="{AA41EB38-FA59-47E0-BFC6-CEB0E8F922CA}" sibTransId="{37DA1E38-AF83-411A-A978-A88E0A169C77}"/>
    <dgm:cxn modelId="{B497D373-785B-4371-ADCF-60066E2EEF69}" srcId="{C1E66B2B-0469-4ADF-B8EE-9B52D1FC1C7A}" destId="{3D578F43-43FF-4D19-B740-F6A581E0C8BE}" srcOrd="2" destOrd="0" parTransId="{B1DF630F-547B-4EED-AA02-BE2637267599}" sibTransId="{4F6E35F7-3B36-4589-9347-3402087CB7B5}"/>
    <dgm:cxn modelId="{83100D7F-FAC8-4AD1-A07F-7C51F5EAF413}" srcId="{732E8814-6700-4088-9D4F-79D6EBFE85C8}" destId="{424EF410-0D6D-4CAB-A09F-259FF6E93C90}" srcOrd="0" destOrd="0" parTransId="{3B90BACB-D786-4972-BC60-54EED162A3DB}" sibTransId="{D88EE2D5-3A0C-4636-BAF4-9A7BE70ED44B}"/>
    <dgm:cxn modelId="{CEFAF6A1-4164-4CCB-8FAF-CE5C4AF82038}" srcId="{C1E66B2B-0469-4ADF-B8EE-9B52D1FC1C7A}" destId="{732E8814-6700-4088-9D4F-79D6EBFE85C8}" srcOrd="3" destOrd="0" parTransId="{8B9DA1FF-4074-44DF-85F3-C77545F2A4AE}" sibTransId="{CB4D2896-806E-4DEA-B7E5-B619E601BFA8}"/>
    <dgm:cxn modelId="{9F7F76AE-9F17-4F3A-9747-4FE13C5AABEE}" srcId="{8AC4CBA8-E2CD-47D6-B027-D730DEDEE821}" destId="{CEB37AC2-AECD-4997-B05E-7FF31CAEC308}" srcOrd="0" destOrd="0" parTransId="{BBAA8A35-47B6-4E34-94BC-0A135961C797}" sibTransId="{446FEE1D-84E6-4E9C-A86D-042CE49606A4}"/>
    <dgm:cxn modelId="{2AA95DB5-949B-4B91-954D-DCC7A9D004A9}" srcId="{3D578F43-43FF-4D19-B740-F6A581E0C8BE}" destId="{F19C5227-60FB-4070-8A1B-9FFED758FFC3}" srcOrd="0" destOrd="0" parTransId="{1F9B5B3C-CF76-4BA7-B832-778EE1446896}" sibTransId="{30518D84-5DC1-424B-8C53-F5208825021D}"/>
    <dgm:cxn modelId="{5E18C8BC-07E8-4368-B43B-562C914FA7E9}" type="presOf" srcId="{3D578F43-43FF-4D19-B740-F6A581E0C8BE}" destId="{33546F62-5B4D-463E-A629-8D7CB5443E0A}" srcOrd="0" destOrd="0" presId="urn:microsoft.com/office/officeart/2008/layout/VerticalAccentList"/>
    <dgm:cxn modelId="{E77E87CF-2F10-4E3D-88D1-2C95515198CD}" type="presOf" srcId="{C1E66B2B-0469-4ADF-B8EE-9B52D1FC1C7A}" destId="{D62BA736-8055-48B7-9AEE-1C38EEFD8D99}" srcOrd="0" destOrd="0" presId="urn:microsoft.com/office/officeart/2008/layout/VerticalAccentList"/>
    <dgm:cxn modelId="{F2590FDB-36FD-4B30-A03C-DCC54BCC9161}" type="presOf" srcId="{E5B1F756-9FCC-4BB4-BECC-34CE4005FF03}" destId="{8BC7CC22-1276-4B72-AF5D-7863C6152902}" srcOrd="0" destOrd="0" presId="urn:microsoft.com/office/officeart/2008/layout/VerticalAccentList"/>
    <dgm:cxn modelId="{C67CDB29-7F0B-486E-A71A-B08FF007E4CC}" type="presParOf" srcId="{D62BA736-8055-48B7-9AEE-1C38EEFD8D99}" destId="{5E6BBCDD-99C4-43A8-BA64-A56493F3455D}" srcOrd="0" destOrd="0" presId="urn:microsoft.com/office/officeart/2008/layout/VerticalAccentList"/>
    <dgm:cxn modelId="{73656715-FD4C-4FEE-AF90-E51BC538017C}" type="presParOf" srcId="{5E6BBCDD-99C4-43A8-BA64-A56493F3455D}" destId="{537C5C5C-27BB-4312-8A19-25E7DD9F1A62}" srcOrd="0" destOrd="0" presId="urn:microsoft.com/office/officeart/2008/layout/VerticalAccentList"/>
    <dgm:cxn modelId="{524B3E9C-8F6B-4244-832A-E8EDF95C3EA0}" type="presParOf" srcId="{D62BA736-8055-48B7-9AEE-1C38EEFD8D99}" destId="{E9AFA4A7-88B6-4239-9A6B-0B1261BA78A2}" srcOrd="1" destOrd="0" presId="urn:microsoft.com/office/officeart/2008/layout/VerticalAccentList"/>
    <dgm:cxn modelId="{7A18BCDE-8756-48CE-B2F6-9BE38718A76A}" type="presParOf" srcId="{E9AFA4A7-88B6-4239-9A6B-0B1261BA78A2}" destId="{85CEC161-112B-4CD9-BE2D-B800BE6F9038}" srcOrd="0" destOrd="0" presId="urn:microsoft.com/office/officeart/2008/layout/VerticalAccentList"/>
    <dgm:cxn modelId="{4F6573DA-0C8C-4CA6-9E05-4AF10CF2829F}" type="presParOf" srcId="{E9AFA4A7-88B6-4239-9A6B-0B1261BA78A2}" destId="{4E4C55E2-1E3C-4A39-8B1E-B93E9CCFB6E4}" srcOrd="1" destOrd="0" presId="urn:microsoft.com/office/officeart/2008/layout/VerticalAccentList"/>
    <dgm:cxn modelId="{4F6A47C5-2A52-40ED-95E6-272FB5834993}" type="presParOf" srcId="{E9AFA4A7-88B6-4239-9A6B-0B1261BA78A2}" destId="{1DC0FA92-24F1-416E-BEC8-2F209C65A5BB}" srcOrd="2" destOrd="0" presId="urn:microsoft.com/office/officeart/2008/layout/VerticalAccentList"/>
    <dgm:cxn modelId="{C869280D-681D-4640-8AF6-4CAAE6BF179F}" type="presParOf" srcId="{E9AFA4A7-88B6-4239-9A6B-0B1261BA78A2}" destId="{E8824CA5-4241-4D0C-94FE-2C33A7BAFD19}" srcOrd="3" destOrd="0" presId="urn:microsoft.com/office/officeart/2008/layout/VerticalAccentList"/>
    <dgm:cxn modelId="{7DDFA533-244D-4197-99B8-5CA7EF2C4D04}" type="presParOf" srcId="{E9AFA4A7-88B6-4239-9A6B-0B1261BA78A2}" destId="{3F5D18AE-98F0-4802-A2C0-CAC4475A9A66}" srcOrd="4" destOrd="0" presId="urn:microsoft.com/office/officeart/2008/layout/VerticalAccentList"/>
    <dgm:cxn modelId="{CA63E9D1-A3F3-49CE-A007-A74F6D0E71CC}" type="presParOf" srcId="{E9AFA4A7-88B6-4239-9A6B-0B1261BA78A2}" destId="{87A0C9B4-2717-4739-A556-BE89D380298C}" srcOrd="5" destOrd="0" presId="urn:microsoft.com/office/officeart/2008/layout/VerticalAccentList"/>
    <dgm:cxn modelId="{69E8596E-F5A9-4F71-ACA8-62F1FDE5A6D0}" type="presParOf" srcId="{E9AFA4A7-88B6-4239-9A6B-0B1261BA78A2}" destId="{48C04F5B-F05F-4623-8534-324141AD2F23}" srcOrd="6" destOrd="0" presId="urn:microsoft.com/office/officeart/2008/layout/VerticalAccentList"/>
    <dgm:cxn modelId="{B2B850E5-68BC-4EC0-AFE0-A4B26E66FB1D}" type="presParOf" srcId="{E9AFA4A7-88B6-4239-9A6B-0B1261BA78A2}" destId="{8BC7CC22-1276-4B72-AF5D-7863C6152902}" srcOrd="7" destOrd="0" presId="urn:microsoft.com/office/officeart/2008/layout/VerticalAccentList"/>
    <dgm:cxn modelId="{2215F624-172A-45D1-94EA-40208BEF5007}" type="presParOf" srcId="{D62BA736-8055-48B7-9AEE-1C38EEFD8D99}" destId="{71586CC5-07FF-4CD1-BFA9-37F5D0DCAF05}" srcOrd="2" destOrd="0" presId="urn:microsoft.com/office/officeart/2008/layout/VerticalAccentList"/>
    <dgm:cxn modelId="{232E4CBF-3F63-4E92-A8D7-4096813E4D4D}" type="presParOf" srcId="{D62BA736-8055-48B7-9AEE-1C38EEFD8D99}" destId="{33A5DACF-EB22-4DCB-B70B-4F565AFCF93E}" srcOrd="3" destOrd="0" presId="urn:microsoft.com/office/officeart/2008/layout/VerticalAccentList"/>
    <dgm:cxn modelId="{211A27CF-96DC-42C8-8E4F-2D819B1C3A7A}" type="presParOf" srcId="{33A5DACF-EB22-4DCB-B70B-4F565AFCF93E}" destId="{9722DE8D-AF8E-48CB-BCFE-4B949D8CFB9B}" srcOrd="0" destOrd="0" presId="urn:microsoft.com/office/officeart/2008/layout/VerticalAccentList"/>
    <dgm:cxn modelId="{CEB9F445-8D5D-46B1-B065-06066D47B63E}" type="presParOf" srcId="{D62BA736-8055-48B7-9AEE-1C38EEFD8D99}" destId="{15F95FC2-8F17-47C9-935E-3FE2182BA46F}" srcOrd="4" destOrd="0" presId="urn:microsoft.com/office/officeart/2008/layout/VerticalAccentList"/>
    <dgm:cxn modelId="{6FA2D4B6-3C10-4B67-8AD2-5CA7D065D38A}" type="presParOf" srcId="{15F95FC2-8F17-47C9-935E-3FE2182BA46F}" destId="{CCDC95B0-206D-4A5C-8336-4AB3EB6ED06C}" srcOrd="0" destOrd="0" presId="urn:microsoft.com/office/officeart/2008/layout/VerticalAccentList"/>
    <dgm:cxn modelId="{75610EA7-F748-4221-9961-952655DC9076}" type="presParOf" srcId="{15F95FC2-8F17-47C9-935E-3FE2182BA46F}" destId="{4C38F071-683F-44DE-A835-C50D11088D7D}" srcOrd="1" destOrd="0" presId="urn:microsoft.com/office/officeart/2008/layout/VerticalAccentList"/>
    <dgm:cxn modelId="{6642619B-5606-4B7A-B4E2-7D7D992A766B}" type="presParOf" srcId="{15F95FC2-8F17-47C9-935E-3FE2182BA46F}" destId="{5BBA42FF-F4B6-4FC2-86B6-EFC2F086D1BE}" srcOrd="2" destOrd="0" presId="urn:microsoft.com/office/officeart/2008/layout/VerticalAccentList"/>
    <dgm:cxn modelId="{DC21226B-67BB-4F9D-93D6-7BFEB74E8ED8}" type="presParOf" srcId="{15F95FC2-8F17-47C9-935E-3FE2182BA46F}" destId="{9543A743-7FF4-450B-8E6E-B4E1EF929D2B}" srcOrd="3" destOrd="0" presId="urn:microsoft.com/office/officeart/2008/layout/VerticalAccentList"/>
    <dgm:cxn modelId="{F8D37D6B-A513-4F3E-8688-6917C96C75FD}" type="presParOf" srcId="{15F95FC2-8F17-47C9-935E-3FE2182BA46F}" destId="{1759E5F4-204D-4A17-B0E7-445210005D14}" srcOrd="4" destOrd="0" presId="urn:microsoft.com/office/officeart/2008/layout/VerticalAccentList"/>
    <dgm:cxn modelId="{FFB34044-2919-4AD6-B58F-993AFD541FAA}" type="presParOf" srcId="{15F95FC2-8F17-47C9-935E-3FE2182BA46F}" destId="{B0D2D155-8B61-4099-9F77-1278418DC8EB}" srcOrd="5" destOrd="0" presId="urn:microsoft.com/office/officeart/2008/layout/VerticalAccentList"/>
    <dgm:cxn modelId="{E2735A5E-6FD6-4826-A03A-1F73FDC43DA9}" type="presParOf" srcId="{15F95FC2-8F17-47C9-935E-3FE2182BA46F}" destId="{C9BACA11-FBD8-4580-BC14-313A0075ECE0}" srcOrd="6" destOrd="0" presId="urn:microsoft.com/office/officeart/2008/layout/VerticalAccentList"/>
    <dgm:cxn modelId="{A035413C-3DC7-40BD-873A-067ABD3C79E1}" type="presParOf" srcId="{15F95FC2-8F17-47C9-935E-3FE2182BA46F}" destId="{538DE373-4C16-43BA-8630-85A0426EFAB9}" srcOrd="7" destOrd="0" presId="urn:microsoft.com/office/officeart/2008/layout/VerticalAccentList"/>
    <dgm:cxn modelId="{090105D1-5E58-4700-B88C-A56FEA41379B}" type="presParOf" srcId="{D62BA736-8055-48B7-9AEE-1C38EEFD8D99}" destId="{C7E779AA-0437-4DDA-B6BD-BD62CC3CC875}" srcOrd="5" destOrd="0" presId="urn:microsoft.com/office/officeart/2008/layout/VerticalAccentList"/>
    <dgm:cxn modelId="{54A5A162-CC62-4873-9752-65ACE733B967}" type="presParOf" srcId="{D62BA736-8055-48B7-9AEE-1C38EEFD8D99}" destId="{EFE30786-5A23-4723-A46F-F9B3E0287054}" srcOrd="6" destOrd="0" presId="urn:microsoft.com/office/officeart/2008/layout/VerticalAccentList"/>
    <dgm:cxn modelId="{F8F42F8E-0EAF-4BD5-8761-C27AA6B97521}" type="presParOf" srcId="{EFE30786-5A23-4723-A46F-F9B3E0287054}" destId="{33546F62-5B4D-463E-A629-8D7CB5443E0A}" srcOrd="0" destOrd="0" presId="urn:microsoft.com/office/officeart/2008/layout/VerticalAccentList"/>
    <dgm:cxn modelId="{63FF4DA8-D99C-4C2F-800F-0FDCFDECE239}" type="presParOf" srcId="{D62BA736-8055-48B7-9AEE-1C38EEFD8D99}" destId="{0A71C340-640E-4052-856F-42BD7A95EF1A}" srcOrd="7" destOrd="0" presId="urn:microsoft.com/office/officeart/2008/layout/VerticalAccentList"/>
    <dgm:cxn modelId="{9AF80497-0704-4608-B91E-EE7CB2F46FA5}" type="presParOf" srcId="{0A71C340-640E-4052-856F-42BD7A95EF1A}" destId="{0429CF0C-436E-4B08-9AAE-0B6DC525767F}" srcOrd="0" destOrd="0" presId="urn:microsoft.com/office/officeart/2008/layout/VerticalAccentList"/>
    <dgm:cxn modelId="{D02AE98F-84CA-4152-8E51-30A399CD59EF}" type="presParOf" srcId="{0A71C340-640E-4052-856F-42BD7A95EF1A}" destId="{E146A7FC-A51E-4B6C-86BD-5A26735B215D}" srcOrd="1" destOrd="0" presId="urn:microsoft.com/office/officeart/2008/layout/VerticalAccentList"/>
    <dgm:cxn modelId="{7188A9C3-CC0C-424F-9F1A-A033A0F669CC}" type="presParOf" srcId="{0A71C340-640E-4052-856F-42BD7A95EF1A}" destId="{E8101A80-B9DF-4179-B688-E50E5B58A390}" srcOrd="2" destOrd="0" presId="urn:microsoft.com/office/officeart/2008/layout/VerticalAccentList"/>
    <dgm:cxn modelId="{D62DDCBF-A4B9-44A1-94ED-0DE83EA3B576}" type="presParOf" srcId="{0A71C340-640E-4052-856F-42BD7A95EF1A}" destId="{EEA59DE8-62E1-4EFF-BC01-ED85D5DB50DC}" srcOrd="3" destOrd="0" presId="urn:microsoft.com/office/officeart/2008/layout/VerticalAccentList"/>
    <dgm:cxn modelId="{916018BF-53D0-4E3F-A065-0A76277C63A9}" type="presParOf" srcId="{0A71C340-640E-4052-856F-42BD7A95EF1A}" destId="{81197D27-422E-4928-AC01-1C9A400C1613}" srcOrd="4" destOrd="0" presId="urn:microsoft.com/office/officeart/2008/layout/VerticalAccentList"/>
    <dgm:cxn modelId="{FBE0817E-3B1A-41C0-AB75-68CBE4694DA4}" type="presParOf" srcId="{0A71C340-640E-4052-856F-42BD7A95EF1A}" destId="{5C0977BD-C1B3-464B-A9FB-0F547B90C9A4}" srcOrd="5" destOrd="0" presId="urn:microsoft.com/office/officeart/2008/layout/VerticalAccentList"/>
    <dgm:cxn modelId="{C12FC0A0-C27D-4D37-97C9-671E384331FB}" type="presParOf" srcId="{0A71C340-640E-4052-856F-42BD7A95EF1A}" destId="{704ED82B-3A30-4462-BB06-88779C06DE10}" srcOrd="6" destOrd="0" presId="urn:microsoft.com/office/officeart/2008/layout/VerticalAccentList"/>
    <dgm:cxn modelId="{81AF7AB0-1E8D-4D3A-ACDB-9E0609BFB0E6}" type="presParOf" srcId="{0A71C340-640E-4052-856F-42BD7A95EF1A}" destId="{D91ADDC0-7DD6-40BD-A435-6119E05C0184}" srcOrd="7" destOrd="0" presId="urn:microsoft.com/office/officeart/2008/layout/VerticalAccentList"/>
    <dgm:cxn modelId="{CE40FD3F-8CCE-4986-BE57-3317D641DA76}" type="presParOf" srcId="{D62BA736-8055-48B7-9AEE-1C38EEFD8D99}" destId="{F92F676B-245D-47A4-A272-41C44CA8F3D8}" srcOrd="8" destOrd="0" presId="urn:microsoft.com/office/officeart/2008/layout/VerticalAccentList"/>
    <dgm:cxn modelId="{FF95763D-23D2-4033-9FFB-2EB8F482177E}" type="presParOf" srcId="{D62BA736-8055-48B7-9AEE-1C38EEFD8D99}" destId="{4A7AF770-CE21-4761-BBA7-2EB1F597C5B3}" srcOrd="9" destOrd="0" presId="urn:microsoft.com/office/officeart/2008/layout/VerticalAccentList"/>
    <dgm:cxn modelId="{9F1A9199-CC1B-49E4-962D-AED212FF6321}" type="presParOf" srcId="{4A7AF770-CE21-4761-BBA7-2EB1F597C5B3}" destId="{F4F5E702-F8AF-4476-A9BE-16E6B315C8D3}" srcOrd="0" destOrd="0" presId="urn:microsoft.com/office/officeart/2008/layout/VerticalAccentList"/>
    <dgm:cxn modelId="{AA6861D3-1AF6-453B-818B-679C01191FB9}" type="presParOf" srcId="{D62BA736-8055-48B7-9AEE-1C38EEFD8D99}" destId="{044FBE1B-4042-4B74-A295-BE8751F9C6AF}" srcOrd="10" destOrd="0" presId="urn:microsoft.com/office/officeart/2008/layout/VerticalAccentList"/>
    <dgm:cxn modelId="{644B0526-329B-4D97-B741-632F0201C9DE}" type="presParOf" srcId="{044FBE1B-4042-4B74-A295-BE8751F9C6AF}" destId="{847370B5-C8A8-4175-BFBC-900745DC9F55}" srcOrd="0" destOrd="0" presId="urn:microsoft.com/office/officeart/2008/layout/VerticalAccentList"/>
    <dgm:cxn modelId="{C348B428-0291-4DBC-A2E4-4991CBF50F4A}" type="presParOf" srcId="{044FBE1B-4042-4B74-A295-BE8751F9C6AF}" destId="{BB4FF437-077E-435A-B4EB-74479F49352A}" srcOrd="1" destOrd="0" presId="urn:microsoft.com/office/officeart/2008/layout/VerticalAccentList"/>
    <dgm:cxn modelId="{32B63A5C-B682-41C4-A18C-8BBA05B2E263}" type="presParOf" srcId="{044FBE1B-4042-4B74-A295-BE8751F9C6AF}" destId="{91506A7C-0125-4D40-8134-3F5BCEF44072}" srcOrd="2" destOrd="0" presId="urn:microsoft.com/office/officeart/2008/layout/VerticalAccentList"/>
    <dgm:cxn modelId="{9BB87C14-25A0-4C5D-86CA-9893731BADE2}" type="presParOf" srcId="{044FBE1B-4042-4B74-A295-BE8751F9C6AF}" destId="{459EAB88-F255-4BDE-AA3F-10155F959255}" srcOrd="3" destOrd="0" presId="urn:microsoft.com/office/officeart/2008/layout/VerticalAccentList"/>
    <dgm:cxn modelId="{18A62DB4-38E5-43C5-AEF7-4548AC687BB1}" type="presParOf" srcId="{044FBE1B-4042-4B74-A295-BE8751F9C6AF}" destId="{5FAEC293-28B9-4F39-BB7E-A69C5BACE444}" srcOrd="4" destOrd="0" presId="urn:microsoft.com/office/officeart/2008/layout/VerticalAccentList"/>
    <dgm:cxn modelId="{8F885C4C-F5EB-4898-A86B-005F045AF6BF}" type="presParOf" srcId="{044FBE1B-4042-4B74-A295-BE8751F9C6AF}" destId="{8EADE5D5-3BD7-4189-BCB0-C41B7B458231}" srcOrd="5" destOrd="0" presId="urn:microsoft.com/office/officeart/2008/layout/VerticalAccentList"/>
    <dgm:cxn modelId="{E09EE290-E70E-4C1B-8D3B-82769728844C}" type="presParOf" srcId="{044FBE1B-4042-4B74-A295-BE8751F9C6AF}" destId="{2A0170BA-0FE0-470F-9347-114A5FDA8CED}" srcOrd="6" destOrd="0" presId="urn:microsoft.com/office/officeart/2008/layout/VerticalAccentList"/>
    <dgm:cxn modelId="{A1F10944-6D38-4B95-9FE7-60EF65C2ABA7}" type="presParOf" srcId="{044FBE1B-4042-4B74-A295-BE8751F9C6AF}" destId="{D9A8A92A-21B6-4EEF-9E0D-938E2818B0AB}"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ED9BD02F-E339-4090-B585-3F3365AD045F}">
      <dgm:prSet phldrT="[Text]" custT="1"/>
      <dgm:spPr/>
      <dgm:t>
        <a:bodyPr/>
        <a:lstStyle/>
        <a:p>
          <a:r>
            <a:rPr lang="en-US" sz="2400" b="1" dirty="0"/>
            <a:t>Dedicated Study time</a:t>
          </a:r>
        </a:p>
      </dgm:t>
    </dgm:pt>
    <dgm:pt modelId="{D6DB04DC-2F26-4921-A61C-6F43970C9150}" type="parTrans" cxnId="{008C2564-1A79-4534-A182-C2CDA5BAD772}">
      <dgm:prSet/>
      <dgm:spPr/>
      <dgm:t>
        <a:bodyPr/>
        <a:lstStyle/>
        <a:p>
          <a:endParaRPr lang="en-US"/>
        </a:p>
      </dgm:t>
    </dgm:pt>
    <dgm:pt modelId="{EADF7916-DAFB-44F1-844C-3E290729B7FE}" type="sibTrans" cxnId="{008C2564-1A79-4534-A182-C2CDA5BAD772}">
      <dgm:prSet/>
      <dgm:spPr/>
      <dgm:t>
        <a:bodyPr/>
        <a:lstStyle/>
        <a:p>
          <a:endParaRPr lang="en-US"/>
        </a:p>
      </dgm:t>
    </dgm:pt>
    <dgm:pt modelId="{B939D0C7-0BEE-48BD-B32F-DC4D3CDBB56C}">
      <dgm:prSet phldrT="[Text]"/>
      <dgm:spPr/>
      <dgm:t>
        <a:bodyPr/>
        <a:lstStyle/>
        <a:p>
          <a:r>
            <a:rPr lang="en-US" b="1" dirty="0"/>
            <a:t>30 mins Day/night Pick a time; make it happen!</a:t>
          </a:r>
        </a:p>
      </dgm:t>
    </dgm:pt>
    <dgm:pt modelId="{477E4187-86CD-4745-B7AF-64AE1BA72E9A}" type="parTrans" cxnId="{B545A095-E3F0-49DA-841A-8B9B2CE72CC5}">
      <dgm:prSet/>
      <dgm:spPr/>
      <dgm:t>
        <a:bodyPr/>
        <a:lstStyle/>
        <a:p>
          <a:endParaRPr lang="en-US"/>
        </a:p>
      </dgm:t>
    </dgm:pt>
    <dgm:pt modelId="{2EB33E5B-7515-4504-8EC4-E7CE57370B34}" type="sibTrans" cxnId="{B545A095-E3F0-49DA-841A-8B9B2CE72CC5}">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2722BBAF-380A-4430-BC0C-E409E2C88A23}">
      <dgm:prSet phldrT="[Text]"/>
      <dgm:spPr/>
      <dgm:t>
        <a:bodyPr/>
        <a:lstStyle/>
        <a:p>
          <a:r>
            <a:rPr lang="en-US" b="1"/>
            <a:t>Read Faster</a:t>
          </a:r>
          <a:endParaRPr lang="en-US" b="1" dirty="0"/>
        </a:p>
      </dgm:t>
    </dgm:pt>
    <dgm:pt modelId="{0C068086-B08E-4D44-BEBD-128079E31591}" type="parTrans" cxnId="{A5D8C496-2A1E-493D-A479-42F3258A95C4}">
      <dgm:prSet/>
      <dgm:spPr/>
      <dgm:t>
        <a:bodyPr/>
        <a:lstStyle/>
        <a:p>
          <a:endParaRPr lang="en-US"/>
        </a:p>
      </dgm:t>
    </dgm:pt>
    <dgm:pt modelId="{1F95F32B-D648-4AB3-9248-3B8AB7558C98}" type="sibTrans" cxnId="{A5D8C496-2A1E-493D-A479-42F3258A95C4}">
      <dgm:prSet/>
      <dgm:spPr/>
      <dgm:t>
        <a:bodyPr/>
        <a:lstStyle/>
        <a:p>
          <a:endParaRPr lang="en-US"/>
        </a:p>
      </dgm:t>
    </dgm:pt>
    <dgm:pt modelId="{F6C9BE19-E4F1-4587-947D-37865E1EABE2}">
      <dgm:prSet phldrT="[Text]"/>
      <dgm:spPr/>
      <dgm:t>
        <a:bodyPr/>
        <a:lstStyle/>
        <a:p>
          <a:r>
            <a:rPr lang="en-US" dirty="0"/>
            <a:t>DO NOT GO BACK! </a:t>
          </a:r>
          <a:endParaRPr lang="en-US" b="1" dirty="0"/>
        </a:p>
      </dgm:t>
    </dgm:pt>
    <dgm:pt modelId="{D438B056-811E-4383-A12F-1CDF0D7D05D6}" type="parTrans" cxnId="{EB5BCAFC-F384-4B74-A6F4-B0AC8D76FE6B}">
      <dgm:prSet/>
      <dgm:spPr/>
      <dgm:t>
        <a:bodyPr/>
        <a:lstStyle/>
        <a:p>
          <a:endParaRPr lang="en-US"/>
        </a:p>
      </dgm:t>
    </dgm:pt>
    <dgm:pt modelId="{83BC3477-5D94-418D-A0BE-BC7A8703FC81}" type="sibTrans" cxnId="{EB5BCAFC-F384-4B74-A6F4-B0AC8D76FE6B}">
      <dgm:prSet/>
      <dgm:spPr/>
      <dgm:t>
        <a:bodyPr/>
        <a:lstStyle/>
        <a:p>
          <a:endParaRPr lang="en-US"/>
        </a:p>
      </dgm:t>
    </dgm:pt>
    <dgm:pt modelId="{518FBBB2-AD67-4961-885F-2BE8DAAE08AF}">
      <dgm:prSet phldrT="[Text]"/>
      <dgm:spPr/>
      <dgm:t>
        <a:bodyPr/>
        <a:lstStyle/>
        <a:p>
          <a:r>
            <a:rPr lang="en-US" b="1" dirty="0"/>
            <a:t>Use your finger, keep it moving make eyes follow</a:t>
          </a:r>
        </a:p>
      </dgm:t>
    </dgm:pt>
    <dgm:pt modelId="{05F630A5-59AC-4AD2-A8E7-63F37EAA9CB0}" type="parTrans" cxnId="{D2B1067B-A8F7-4A16-A7EC-4CA90141453B}">
      <dgm:prSet/>
      <dgm:spPr/>
      <dgm:t>
        <a:bodyPr/>
        <a:lstStyle/>
        <a:p>
          <a:endParaRPr lang="en-US"/>
        </a:p>
      </dgm:t>
    </dgm:pt>
    <dgm:pt modelId="{FBAF0E1F-6254-45CD-B6BF-57E524ED0752}" type="sibTrans" cxnId="{D2B1067B-A8F7-4A16-A7EC-4CA90141453B}">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4">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28"/>
      <dgm:spPr/>
    </dgm:pt>
    <dgm:pt modelId="{EE0AB3AA-D3AB-48E1-9321-A3137B8D322E}" type="pres">
      <dgm:prSet presAssocID="{D464049D-740D-4FE9-A0DA-CD61A1FF4485}" presName="chevron2" presStyleLbl="alignNode1" presStyleIdx="1" presStyleCnt="28"/>
      <dgm:spPr/>
    </dgm:pt>
    <dgm:pt modelId="{9329C696-5B71-4928-A272-8948028E97E5}" type="pres">
      <dgm:prSet presAssocID="{D464049D-740D-4FE9-A0DA-CD61A1FF4485}" presName="chevron3" presStyleLbl="alignNode1" presStyleIdx="2" presStyleCnt="28"/>
      <dgm:spPr/>
    </dgm:pt>
    <dgm:pt modelId="{38B69B3D-B02E-4121-82C7-F0C86715384C}" type="pres">
      <dgm:prSet presAssocID="{D464049D-740D-4FE9-A0DA-CD61A1FF4485}" presName="chevron4" presStyleLbl="alignNode1" presStyleIdx="3" presStyleCnt="28"/>
      <dgm:spPr/>
    </dgm:pt>
    <dgm:pt modelId="{F924661F-8EEB-4E1B-A452-D985D6D04D0A}" type="pres">
      <dgm:prSet presAssocID="{D464049D-740D-4FE9-A0DA-CD61A1FF4485}" presName="chevron5" presStyleLbl="alignNode1" presStyleIdx="4" presStyleCnt="28"/>
      <dgm:spPr/>
    </dgm:pt>
    <dgm:pt modelId="{C98C52F9-726D-4807-ABED-4E29C1B934C9}" type="pres">
      <dgm:prSet presAssocID="{D464049D-740D-4FE9-A0DA-CD61A1FF4485}" presName="chevron6" presStyleLbl="alignNode1" presStyleIdx="5" presStyleCnt="28"/>
      <dgm:spPr/>
    </dgm:pt>
    <dgm:pt modelId="{B9A8AC12-3C04-42B5-B797-2F1380D76C01}" type="pres">
      <dgm:prSet presAssocID="{D464049D-740D-4FE9-A0DA-CD61A1FF4485}" presName="chevron7" presStyleLbl="alignNode1" presStyleIdx="6" presStyleCnt="28"/>
      <dgm:spPr/>
    </dgm:pt>
    <dgm:pt modelId="{A3321F54-D695-48CF-9C80-8D8D97947C77}" type="pres">
      <dgm:prSet presAssocID="{D464049D-740D-4FE9-A0DA-CD61A1FF4485}" presName="childtext" presStyleLbl="solidFgAcc1" presStyleIdx="0" presStyleCnt="4">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4">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28"/>
      <dgm:spPr/>
    </dgm:pt>
    <dgm:pt modelId="{70D65ECC-FE53-4123-A18B-84F76B12E4C0}" type="pres">
      <dgm:prSet presAssocID="{85DD6230-7E39-489F-B845-2144D2FB3186}" presName="chevron2" presStyleLbl="alignNode1" presStyleIdx="8" presStyleCnt="28"/>
      <dgm:spPr/>
    </dgm:pt>
    <dgm:pt modelId="{1C848B6A-2F2F-44B0-A09C-1E5B13D04672}" type="pres">
      <dgm:prSet presAssocID="{85DD6230-7E39-489F-B845-2144D2FB3186}" presName="chevron3" presStyleLbl="alignNode1" presStyleIdx="9" presStyleCnt="28"/>
      <dgm:spPr/>
    </dgm:pt>
    <dgm:pt modelId="{6E5BAEEB-E1CF-40E4-9ED1-39B760C87CA8}" type="pres">
      <dgm:prSet presAssocID="{85DD6230-7E39-489F-B845-2144D2FB3186}" presName="chevron4" presStyleLbl="alignNode1" presStyleIdx="10" presStyleCnt="28"/>
      <dgm:spPr/>
    </dgm:pt>
    <dgm:pt modelId="{AF33DC73-B11F-4ACE-BFF3-2270EBF01C95}" type="pres">
      <dgm:prSet presAssocID="{85DD6230-7E39-489F-B845-2144D2FB3186}" presName="chevron5" presStyleLbl="alignNode1" presStyleIdx="11" presStyleCnt="28"/>
      <dgm:spPr/>
    </dgm:pt>
    <dgm:pt modelId="{8BEE9EF1-0C1A-4B48-B826-DB65676D1DFD}" type="pres">
      <dgm:prSet presAssocID="{85DD6230-7E39-489F-B845-2144D2FB3186}" presName="chevron6" presStyleLbl="alignNode1" presStyleIdx="12" presStyleCnt="28"/>
      <dgm:spPr/>
    </dgm:pt>
    <dgm:pt modelId="{15DBB07C-1792-42CF-BF62-030823DEF5D2}" type="pres">
      <dgm:prSet presAssocID="{85DD6230-7E39-489F-B845-2144D2FB3186}" presName="chevron7" presStyleLbl="alignNode1" presStyleIdx="13" presStyleCnt="28"/>
      <dgm:spPr/>
    </dgm:pt>
    <dgm:pt modelId="{9E60AD78-2486-4FA6-A6D4-F802030DC906}" type="pres">
      <dgm:prSet presAssocID="{85DD6230-7E39-489F-B845-2144D2FB3186}" presName="childtext" presStyleLbl="solidFgAcc1" presStyleIdx="1" presStyleCnt="4">
        <dgm:presLayoutVars>
          <dgm:chMax/>
          <dgm:chPref val="0"/>
          <dgm:bulletEnabled val="1"/>
        </dgm:presLayoutVars>
      </dgm:prSet>
      <dgm:spPr/>
    </dgm:pt>
    <dgm:pt modelId="{E41206EE-73A1-4D9A-A23B-07D47FA331C6}" type="pres">
      <dgm:prSet presAssocID="{7887ADF7-4FC3-4229-9536-4DFE6261D93A}" presName="sibTrans" presStyleCnt="0"/>
      <dgm:spPr/>
    </dgm:pt>
    <dgm:pt modelId="{D7C438E6-861C-4874-9CC6-5A207A42D000}" type="pres">
      <dgm:prSet presAssocID="{ED9BD02F-E339-4090-B585-3F3365AD045F}" presName="parenttextcomposite" presStyleCnt="0"/>
      <dgm:spPr/>
    </dgm:pt>
    <dgm:pt modelId="{4E668978-DD2E-4455-8F1B-460890CEDDD0}" type="pres">
      <dgm:prSet presAssocID="{ED9BD02F-E339-4090-B585-3F3365AD045F}" presName="parenttext" presStyleLbl="revTx" presStyleIdx="2" presStyleCnt="4">
        <dgm:presLayoutVars>
          <dgm:chMax/>
          <dgm:chPref val="2"/>
          <dgm:bulletEnabled val="1"/>
        </dgm:presLayoutVars>
      </dgm:prSet>
      <dgm:spPr/>
    </dgm:pt>
    <dgm:pt modelId="{EA75828D-67D5-4AB1-9A4C-BD61C172E318}" type="pres">
      <dgm:prSet presAssocID="{ED9BD02F-E339-4090-B585-3F3365AD045F}" presName="composite" presStyleCnt="0"/>
      <dgm:spPr/>
    </dgm:pt>
    <dgm:pt modelId="{1185CAAF-D23B-4B96-A044-FF5C28F24859}" type="pres">
      <dgm:prSet presAssocID="{ED9BD02F-E339-4090-B585-3F3365AD045F}" presName="chevron1" presStyleLbl="alignNode1" presStyleIdx="14" presStyleCnt="28"/>
      <dgm:spPr/>
    </dgm:pt>
    <dgm:pt modelId="{5F7A619F-E82B-4A9D-8E03-ADD7F3A04761}" type="pres">
      <dgm:prSet presAssocID="{ED9BD02F-E339-4090-B585-3F3365AD045F}" presName="chevron2" presStyleLbl="alignNode1" presStyleIdx="15" presStyleCnt="28"/>
      <dgm:spPr/>
    </dgm:pt>
    <dgm:pt modelId="{0551AF3A-90E8-4FF7-94B9-607493F493F5}" type="pres">
      <dgm:prSet presAssocID="{ED9BD02F-E339-4090-B585-3F3365AD045F}" presName="chevron3" presStyleLbl="alignNode1" presStyleIdx="16" presStyleCnt="28"/>
      <dgm:spPr/>
    </dgm:pt>
    <dgm:pt modelId="{A2E46F09-FFC4-403D-8EAB-C5598E735292}" type="pres">
      <dgm:prSet presAssocID="{ED9BD02F-E339-4090-B585-3F3365AD045F}" presName="chevron4" presStyleLbl="alignNode1" presStyleIdx="17" presStyleCnt="28"/>
      <dgm:spPr/>
    </dgm:pt>
    <dgm:pt modelId="{73CA0293-0467-42C1-98F1-C385719E54CD}" type="pres">
      <dgm:prSet presAssocID="{ED9BD02F-E339-4090-B585-3F3365AD045F}" presName="chevron5" presStyleLbl="alignNode1" presStyleIdx="18" presStyleCnt="28"/>
      <dgm:spPr/>
    </dgm:pt>
    <dgm:pt modelId="{E72F9714-3B2C-41F8-ABA2-2AD13481E570}" type="pres">
      <dgm:prSet presAssocID="{ED9BD02F-E339-4090-B585-3F3365AD045F}" presName="chevron6" presStyleLbl="alignNode1" presStyleIdx="19" presStyleCnt="28"/>
      <dgm:spPr/>
    </dgm:pt>
    <dgm:pt modelId="{00138509-142F-489D-97C1-413B3041444A}" type="pres">
      <dgm:prSet presAssocID="{ED9BD02F-E339-4090-B585-3F3365AD045F}" presName="chevron7" presStyleLbl="alignNode1" presStyleIdx="20" presStyleCnt="28"/>
      <dgm:spPr/>
    </dgm:pt>
    <dgm:pt modelId="{B8CEAD29-E03C-42DC-BC09-1B4E055CFC2D}" type="pres">
      <dgm:prSet presAssocID="{ED9BD02F-E339-4090-B585-3F3365AD045F}" presName="childtext" presStyleLbl="solidFgAcc1" presStyleIdx="2" presStyleCnt="4">
        <dgm:presLayoutVars>
          <dgm:chMax/>
          <dgm:chPref val="0"/>
          <dgm:bulletEnabled val="1"/>
        </dgm:presLayoutVars>
      </dgm:prSet>
      <dgm:spPr/>
    </dgm:pt>
    <dgm:pt modelId="{35476343-3214-4608-8015-5D6FE80F138D}" type="pres">
      <dgm:prSet presAssocID="{EADF7916-DAFB-44F1-844C-3E290729B7FE}" presName="sibTrans" presStyleCnt="0"/>
      <dgm:spPr/>
    </dgm:pt>
    <dgm:pt modelId="{6C109A5E-CE0F-4B40-BF07-54C0A1F9D89E}" type="pres">
      <dgm:prSet presAssocID="{2722BBAF-380A-4430-BC0C-E409E2C88A23}" presName="parenttextcomposite" presStyleCnt="0"/>
      <dgm:spPr/>
    </dgm:pt>
    <dgm:pt modelId="{C652C35B-E3D1-4411-B684-28295DBB62F3}" type="pres">
      <dgm:prSet presAssocID="{2722BBAF-380A-4430-BC0C-E409E2C88A23}" presName="parenttext" presStyleLbl="revTx" presStyleIdx="3" presStyleCnt="4">
        <dgm:presLayoutVars>
          <dgm:chMax/>
          <dgm:chPref val="2"/>
          <dgm:bulletEnabled val="1"/>
        </dgm:presLayoutVars>
      </dgm:prSet>
      <dgm:spPr/>
    </dgm:pt>
    <dgm:pt modelId="{5A19F029-E48F-4D4F-9B78-B15CFE65A504}" type="pres">
      <dgm:prSet presAssocID="{2722BBAF-380A-4430-BC0C-E409E2C88A23}" presName="composite" presStyleCnt="0"/>
      <dgm:spPr/>
    </dgm:pt>
    <dgm:pt modelId="{E6C1B811-16F7-40E6-A3C6-9BF9B07AD014}" type="pres">
      <dgm:prSet presAssocID="{2722BBAF-380A-4430-BC0C-E409E2C88A23}" presName="chevron1" presStyleLbl="alignNode1" presStyleIdx="21" presStyleCnt="28"/>
      <dgm:spPr/>
    </dgm:pt>
    <dgm:pt modelId="{47906D3E-1CF6-42BA-A2B7-544896BCA658}" type="pres">
      <dgm:prSet presAssocID="{2722BBAF-380A-4430-BC0C-E409E2C88A23}" presName="chevron2" presStyleLbl="alignNode1" presStyleIdx="22" presStyleCnt="28"/>
      <dgm:spPr/>
    </dgm:pt>
    <dgm:pt modelId="{36D45DDD-AB74-46CC-A22E-B43B6D6FFBFA}" type="pres">
      <dgm:prSet presAssocID="{2722BBAF-380A-4430-BC0C-E409E2C88A23}" presName="chevron3" presStyleLbl="alignNode1" presStyleIdx="23" presStyleCnt="28"/>
      <dgm:spPr/>
    </dgm:pt>
    <dgm:pt modelId="{DA800A51-EEF9-4A11-ACDE-BFB6B164518D}" type="pres">
      <dgm:prSet presAssocID="{2722BBAF-380A-4430-BC0C-E409E2C88A23}" presName="chevron4" presStyleLbl="alignNode1" presStyleIdx="24" presStyleCnt="28"/>
      <dgm:spPr/>
    </dgm:pt>
    <dgm:pt modelId="{8333698D-2C70-4EDE-9B51-FF2453F479AB}" type="pres">
      <dgm:prSet presAssocID="{2722BBAF-380A-4430-BC0C-E409E2C88A23}" presName="chevron5" presStyleLbl="alignNode1" presStyleIdx="25" presStyleCnt="28"/>
      <dgm:spPr/>
    </dgm:pt>
    <dgm:pt modelId="{D0DFE717-589A-4F64-8F5E-300331375BDC}" type="pres">
      <dgm:prSet presAssocID="{2722BBAF-380A-4430-BC0C-E409E2C88A23}" presName="chevron6" presStyleLbl="alignNode1" presStyleIdx="26" presStyleCnt="28"/>
      <dgm:spPr/>
    </dgm:pt>
    <dgm:pt modelId="{D0718D9C-F534-46FD-99D4-42B12B4D0CF8}" type="pres">
      <dgm:prSet presAssocID="{2722BBAF-380A-4430-BC0C-E409E2C88A23}" presName="chevron7" presStyleLbl="alignNode1" presStyleIdx="27" presStyleCnt="28"/>
      <dgm:spPr/>
    </dgm:pt>
    <dgm:pt modelId="{072D7890-8089-4415-8CDF-9540B6A09B9D}" type="pres">
      <dgm:prSet presAssocID="{2722BBAF-380A-4430-BC0C-E409E2C88A23}" presName="childtext" presStyleLbl="solidFgAcc1" presStyleIdx="3" presStyleCnt="4" custScaleY="80926">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A1B4D3C-6B21-47A2-9915-A41F064C2223}" type="presOf" srcId="{F6C9BE19-E4F1-4587-947D-37865E1EABE2}" destId="{072D7890-8089-4415-8CDF-9540B6A09B9D}" srcOrd="0" destOrd="0" presId="urn:microsoft.com/office/officeart/2008/layout/VerticalAccentList"/>
    <dgm:cxn modelId="{5F24553D-A5E2-47C1-A690-B706DF2F4E4F}" type="presOf" srcId="{518FBBB2-AD67-4961-885F-2BE8DAAE08AF}" destId="{072D7890-8089-4415-8CDF-9540B6A09B9D}" srcOrd="0" destOrd="1" presId="urn:microsoft.com/office/officeart/2008/layout/VerticalAccentList"/>
    <dgm:cxn modelId="{008C2564-1A79-4534-A182-C2CDA5BAD772}" srcId="{3E04A716-B106-4C88-ADD4-4F101E22C607}" destId="{ED9BD02F-E339-4090-B585-3F3365AD045F}" srcOrd="2" destOrd="0" parTransId="{D6DB04DC-2F26-4921-A61C-6F43970C9150}" sibTransId="{EADF7916-DAFB-44F1-844C-3E290729B7FE}"/>
    <dgm:cxn modelId="{67195F65-91A8-4BE3-8B17-75C326A877B4}" srcId="{85DD6230-7E39-489F-B845-2144D2FB3186}" destId="{B555DA5C-EE45-4E3B-ADE8-1C1E1A54C064}" srcOrd="0" destOrd="0" parTransId="{3429BBDB-B226-4D65-8AA8-1CD1B7B3AD68}" sibTransId="{233C0419-6636-436A-A650-4B3A1BB2A6C4}"/>
    <dgm:cxn modelId="{D2B1067B-A8F7-4A16-A7EC-4CA90141453B}" srcId="{2722BBAF-380A-4430-BC0C-E409E2C88A23}" destId="{518FBBB2-AD67-4961-885F-2BE8DAAE08AF}" srcOrd="1" destOrd="0" parTransId="{05F630A5-59AC-4AD2-A8E7-63F37EAA9CB0}" sibTransId="{FBAF0E1F-6254-45CD-B6BF-57E524ED0752}"/>
    <dgm:cxn modelId="{B545A095-E3F0-49DA-841A-8B9B2CE72CC5}" srcId="{ED9BD02F-E339-4090-B585-3F3365AD045F}" destId="{B939D0C7-0BEE-48BD-B32F-DC4D3CDBB56C}" srcOrd="0" destOrd="0" parTransId="{477E4187-86CD-4745-B7AF-64AE1BA72E9A}" sibTransId="{2EB33E5B-7515-4504-8EC4-E7CE57370B34}"/>
    <dgm:cxn modelId="{643F2E96-85ED-4407-867B-2658A3C50B16}" type="presOf" srcId="{ED9BD02F-E339-4090-B585-3F3365AD045F}" destId="{4E668978-DD2E-4455-8F1B-460890CEDDD0}" srcOrd="0" destOrd="0" presId="urn:microsoft.com/office/officeart/2008/layout/VerticalAccentList"/>
    <dgm:cxn modelId="{A5D8C496-2A1E-493D-A479-42F3258A95C4}" srcId="{3E04A716-B106-4C88-ADD4-4F101E22C607}" destId="{2722BBAF-380A-4430-BC0C-E409E2C88A23}" srcOrd="3" destOrd="0" parTransId="{0C068086-B08E-4D44-BEBD-128079E31591}" sibTransId="{1F95F32B-D648-4AB3-9248-3B8AB7558C98}"/>
    <dgm:cxn modelId="{A575ECA1-C4E2-4353-A321-C754046CF012}" type="presOf" srcId="{3E04A716-B106-4C88-ADD4-4F101E22C607}" destId="{CC29E4EB-DEC7-4A77-B8FD-8661E7B639E7}" srcOrd="0" destOrd="0" presId="urn:microsoft.com/office/officeart/2008/layout/VerticalAccentList"/>
    <dgm:cxn modelId="{D2C8E6B1-3DD6-42CF-9373-B5F1ACEEE140}" type="presOf" srcId="{B939D0C7-0BEE-48BD-B32F-DC4D3CDBB56C}" destId="{B8CEAD29-E03C-42DC-BC09-1B4E055CFC2D}" srcOrd="0" destOrd="0" presId="urn:microsoft.com/office/officeart/2008/layout/VerticalAccentList"/>
    <dgm:cxn modelId="{6FE27EB7-C23D-4408-B4A8-E543AC2380C7}" type="presOf" srcId="{2722BBAF-380A-4430-BC0C-E409E2C88A23}" destId="{C652C35B-E3D1-4411-B684-28295DBB62F3}"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EB5BCAFC-F384-4B74-A6F4-B0AC8D76FE6B}" srcId="{2722BBAF-380A-4430-BC0C-E409E2C88A23}" destId="{F6C9BE19-E4F1-4587-947D-37865E1EABE2}" srcOrd="0" destOrd="0" parTransId="{D438B056-811E-4383-A12F-1CDF0D7D05D6}" sibTransId="{83BC3477-5D94-418D-A0BE-BC7A8703FC81}"/>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 modelId="{E3D90255-A0AD-4627-B8F1-B1D8C28812F2}" type="presParOf" srcId="{CC29E4EB-DEC7-4A77-B8FD-8661E7B639E7}" destId="{E41206EE-73A1-4D9A-A23B-07D47FA331C6}" srcOrd="5" destOrd="0" presId="urn:microsoft.com/office/officeart/2008/layout/VerticalAccentList"/>
    <dgm:cxn modelId="{D4778657-A808-40E5-96DF-F2264FB6CCB3}" type="presParOf" srcId="{CC29E4EB-DEC7-4A77-B8FD-8661E7B639E7}" destId="{D7C438E6-861C-4874-9CC6-5A207A42D000}" srcOrd="6" destOrd="0" presId="urn:microsoft.com/office/officeart/2008/layout/VerticalAccentList"/>
    <dgm:cxn modelId="{09959361-B552-49B4-B8EC-CEA6DB51184C}" type="presParOf" srcId="{D7C438E6-861C-4874-9CC6-5A207A42D000}" destId="{4E668978-DD2E-4455-8F1B-460890CEDDD0}" srcOrd="0" destOrd="0" presId="urn:microsoft.com/office/officeart/2008/layout/VerticalAccentList"/>
    <dgm:cxn modelId="{261054D5-4CB7-41F4-AFCB-78A9126E0D5C}" type="presParOf" srcId="{CC29E4EB-DEC7-4A77-B8FD-8661E7B639E7}" destId="{EA75828D-67D5-4AB1-9A4C-BD61C172E318}" srcOrd="7" destOrd="0" presId="urn:microsoft.com/office/officeart/2008/layout/VerticalAccentList"/>
    <dgm:cxn modelId="{7D40F444-A977-48DC-8507-2B639D2BE742}" type="presParOf" srcId="{EA75828D-67D5-4AB1-9A4C-BD61C172E318}" destId="{1185CAAF-D23B-4B96-A044-FF5C28F24859}" srcOrd="0" destOrd="0" presId="urn:microsoft.com/office/officeart/2008/layout/VerticalAccentList"/>
    <dgm:cxn modelId="{3CD65168-122E-45CA-84AB-F2F8F7A25A0D}" type="presParOf" srcId="{EA75828D-67D5-4AB1-9A4C-BD61C172E318}" destId="{5F7A619F-E82B-4A9D-8E03-ADD7F3A04761}" srcOrd="1" destOrd="0" presId="urn:microsoft.com/office/officeart/2008/layout/VerticalAccentList"/>
    <dgm:cxn modelId="{EFCD929E-3771-4104-B1CC-4857B9849C90}" type="presParOf" srcId="{EA75828D-67D5-4AB1-9A4C-BD61C172E318}" destId="{0551AF3A-90E8-4FF7-94B9-607493F493F5}" srcOrd="2" destOrd="0" presId="urn:microsoft.com/office/officeart/2008/layout/VerticalAccentList"/>
    <dgm:cxn modelId="{A3DF8EAB-DE1F-40AE-B35F-5F7DDC00F912}" type="presParOf" srcId="{EA75828D-67D5-4AB1-9A4C-BD61C172E318}" destId="{A2E46F09-FFC4-403D-8EAB-C5598E735292}" srcOrd="3" destOrd="0" presId="urn:microsoft.com/office/officeart/2008/layout/VerticalAccentList"/>
    <dgm:cxn modelId="{D9CA88E7-2281-4D81-9F32-1DD99B4C65B2}" type="presParOf" srcId="{EA75828D-67D5-4AB1-9A4C-BD61C172E318}" destId="{73CA0293-0467-42C1-98F1-C385719E54CD}" srcOrd="4" destOrd="0" presId="urn:microsoft.com/office/officeart/2008/layout/VerticalAccentList"/>
    <dgm:cxn modelId="{D7FF9E1E-17B4-46A2-BE26-732BE99654DE}" type="presParOf" srcId="{EA75828D-67D5-4AB1-9A4C-BD61C172E318}" destId="{E72F9714-3B2C-41F8-ABA2-2AD13481E570}" srcOrd="5" destOrd="0" presId="urn:microsoft.com/office/officeart/2008/layout/VerticalAccentList"/>
    <dgm:cxn modelId="{B6719F88-467B-462A-90FE-8FD2257FC842}" type="presParOf" srcId="{EA75828D-67D5-4AB1-9A4C-BD61C172E318}" destId="{00138509-142F-489D-97C1-413B3041444A}" srcOrd="6" destOrd="0" presId="urn:microsoft.com/office/officeart/2008/layout/VerticalAccentList"/>
    <dgm:cxn modelId="{16D0EE60-F196-4E5F-86E4-A3DA5762B262}" type="presParOf" srcId="{EA75828D-67D5-4AB1-9A4C-BD61C172E318}" destId="{B8CEAD29-E03C-42DC-BC09-1B4E055CFC2D}" srcOrd="7" destOrd="0" presId="urn:microsoft.com/office/officeart/2008/layout/VerticalAccentList"/>
    <dgm:cxn modelId="{A5D01144-D931-4B67-BA05-96A0B9CE0C0A}" type="presParOf" srcId="{CC29E4EB-DEC7-4A77-B8FD-8661E7B639E7}" destId="{35476343-3214-4608-8015-5D6FE80F138D}" srcOrd="8" destOrd="0" presId="urn:microsoft.com/office/officeart/2008/layout/VerticalAccentList"/>
    <dgm:cxn modelId="{4E8266F2-AEA4-400F-8C6A-EC57772388C4}" type="presParOf" srcId="{CC29E4EB-DEC7-4A77-B8FD-8661E7B639E7}" destId="{6C109A5E-CE0F-4B40-BF07-54C0A1F9D89E}" srcOrd="9" destOrd="0" presId="urn:microsoft.com/office/officeart/2008/layout/VerticalAccentList"/>
    <dgm:cxn modelId="{3890789F-EAA2-4868-93A6-C8323106856E}" type="presParOf" srcId="{6C109A5E-CE0F-4B40-BF07-54C0A1F9D89E}" destId="{C652C35B-E3D1-4411-B684-28295DBB62F3}" srcOrd="0" destOrd="0" presId="urn:microsoft.com/office/officeart/2008/layout/VerticalAccentList"/>
    <dgm:cxn modelId="{DF0D9012-1364-424E-8B8E-070051A9948F}" type="presParOf" srcId="{CC29E4EB-DEC7-4A77-B8FD-8661E7B639E7}" destId="{5A19F029-E48F-4D4F-9B78-B15CFE65A504}" srcOrd="10" destOrd="0" presId="urn:microsoft.com/office/officeart/2008/layout/VerticalAccentList"/>
    <dgm:cxn modelId="{6B2C5BA3-5C83-4DC8-9356-172A7855650E}" type="presParOf" srcId="{5A19F029-E48F-4D4F-9B78-B15CFE65A504}" destId="{E6C1B811-16F7-40E6-A3C6-9BF9B07AD014}" srcOrd="0" destOrd="0" presId="urn:microsoft.com/office/officeart/2008/layout/VerticalAccentList"/>
    <dgm:cxn modelId="{BF959EA0-63FC-44CF-AB64-59AF741AC7B1}" type="presParOf" srcId="{5A19F029-E48F-4D4F-9B78-B15CFE65A504}" destId="{47906D3E-1CF6-42BA-A2B7-544896BCA658}" srcOrd="1" destOrd="0" presId="urn:microsoft.com/office/officeart/2008/layout/VerticalAccentList"/>
    <dgm:cxn modelId="{089679E3-A6DC-4E77-8447-EC550A36EFF1}" type="presParOf" srcId="{5A19F029-E48F-4D4F-9B78-B15CFE65A504}" destId="{36D45DDD-AB74-46CC-A22E-B43B6D6FFBFA}" srcOrd="2" destOrd="0" presId="urn:microsoft.com/office/officeart/2008/layout/VerticalAccentList"/>
    <dgm:cxn modelId="{6843B551-35E8-4669-92F6-890282590BF8}" type="presParOf" srcId="{5A19F029-E48F-4D4F-9B78-B15CFE65A504}" destId="{DA800A51-EEF9-4A11-ACDE-BFB6B164518D}" srcOrd="3" destOrd="0" presId="urn:microsoft.com/office/officeart/2008/layout/VerticalAccentList"/>
    <dgm:cxn modelId="{71293E0B-1798-4AEB-B014-8898C6E47F58}" type="presParOf" srcId="{5A19F029-E48F-4D4F-9B78-B15CFE65A504}" destId="{8333698D-2C70-4EDE-9B51-FF2453F479AB}" srcOrd="4" destOrd="0" presId="urn:microsoft.com/office/officeart/2008/layout/VerticalAccentList"/>
    <dgm:cxn modelId="{A369130E-C4FF-4455-B9DF-D3954B18790F}" type="presParOf" srcId="{5A19F029-E48F-4D4F-9B78-B15CFE65A504}" destId="{D0DFE717-589A-4F64-8F5E-300331375BDC}" srcOrd="5" destOrd="0" presId="urn:microsoft.com/office/officeart/2008/layout/VerticalAccentList"/>
    <dgm:cxn modelId="{99AE51B2-AA0E-4F52-9B96-CFCB11E4A719}" type="presParOf" srcId="{5A19F029-E48F-4D4F-9B78-B15CFE65A504}" destId="{D0718D9C-F534-46FD-99D4-42B12B4D0CF8}" srcOrd="6" destOrd="0" presId="urn:microsoft.com/office/officeart/2008/layout/VerticalAccentList"/>
    <dgm:cxn modelId="{1C008726-D17A-4012-A13B-3CB1457A8E22}" type="presParOf" srcId="{5A19F029-E48F-4D4F-9B78-B15CFE65A504}" destId="{072D7890-8089-4415-8CDF-9540B6A09B9D}"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96B1FD-8681-4CCE-9BE7-0108F6F867B6}">
      <dsp:nvSpPr>
        <dsp:cNvPr id="0" name=""/>
        <dsp:cNvSpPr/>
      </dsp:nvSpPr>
      <dsp:spPr>
        <a:xfrm>
          <a:off x="88470" y="26301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Certification</a:t>
          </a:r>
        </a:p>
      </dsp:txBody>
      <dsp:txXfrm>
        <a:off x="88470" y="263012"/>
        <a:ext cx="5124203" cy="465836"/>
      </dsp:txXfrm>
    </dsp:sp>
    <dsp:sp modelId="{697BCE78-AE2E-443B-9DE2-18680639DF30}">
      <dsp:nvSpPr>
        <dsp:cNvPr id="0" name=""/>
        <dsp:cNvSpPr/>
      </dsp:nvSpPr>
      <dsp:spPr>
        <a:xfrm>
          <a:off x="8847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5F67B4-7FBB-46AF-90E1-70B885F9B1A0}">
      <dsp:nvSpPr>
        <dsp:cNvPr id="0" name=""/>
        <dsp:cNvSpPr/>
      </dsp:nvSpPr>
      <dsp:spPr>
        <a:xfrm>
          <a:off x="808706"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07738E-306A-4730-A007-084DF385F3FF}">
      <dsp:nvSpPr>
        <dsp:cNvPr id="0" name=""/>
        <dsp:cNvSpPr/>
      </dsp:nvSpPr>
      <dsp:spPr>
        <a:xfrm>
          <a:off x="152951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CE8E51-E416-45BB-A560-660D53F17696}">
      <dsp:nvSpPr>
        <dsp:cNvPr id="0" name=""/>
        <dsp:cNvSpPr/>
      </dsp:nvSpPr>
      <dsp:spPr>
        <a:xfrm>
          <a:off x="2249746"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B562CC-BFA3-43A6-803F-9A1F56EBA880}">
      <dsp:nvSpPr>
        <dsp:cNvPr id="0" name=""/>
        <dsp:cNvSpPr/>
      </dsp:nvSpPr>
      <dsp:spPr>
        <a:xfrm>
          <a:off x="297055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CAEAB1E-494D-470E-A80F-9C13B690092D}">
      <dsp:nvSpPr>
        <dsp:cNvPr id="0" name=""/>
        <dsp:cNvSpPr/>
      </dsp:nvSpPr>
      <dsp:spPr>
        <a:xfrm>
          <a:off x="3690785"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D98E53-203C-4FF7-82C6-F58DA8574E4F}">
      <dsp:nvSpPr>
        <dsp:cNvPr id="0" name=""/>
        <dsp:cNvSpPr/>
      </dsp:nvSpPr>
      <dsp:spPr>
        <a:xfrm>
          <a:off x="4411590" y="72884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30F9DE-B067-4A84-A657-C1F37252AF82}">
      <dsp:nvSpPr>
        <dsp:cNvPr id="0" name=""/>
        <dsp:cNvSpPr/>
      </dsp:nvSpPr>
      <dsp:spPr>
        <a:xfrm>
          <a:off x="88470" y="823741"/>
          <a:ext cx="5190818" cy="759141"/>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Self, Career, Income, Stature</a:t>
          </a:r>
        </a:p>
        <a:p>
          <a:pPr marL="0" lvl="0" indent="0" algn="l" defTabSz="755650">
            <a:lnSpc>
              <a:spcPct val="90000"/>
            </a:lnSpc>
            <a:spcBef>
              <a:spcPct val="0"/>
            </a:spcBef>
            <a:spcAft>
              <a:spcPct val="35000"/>
            </a:spcAft>
            <a:buNone/>
          </a:pPr>
          <a:r>
            <a:rPr lang="en-US" sz="1700" kern="1200" dirty="0"/>
            <a:t>Make the Decision… Get STARTED NOW!</a:t>
          </a:r>
        </a:p>
      </dsp:txBody>
      <dsp:txXfrm>
        <a:off x="88470" y="823741"/>
        <a:ext cx="5190818" cy="759141"/>
      </dsp:txXfrm>
    </dsp:sp>
    <dsp:sp modelId="{7879BA2E-6071-493E-B298-947188667C8F}">
      <dsp:nvSpPr>
        <dsp:cNvPr id="0" name=""/>
        <dsp:cNvSpPr/>
      </dsp:nvSpPr>
      <dsp:spPr>
        <a:xfrm>
          <a:off x="88470" y="1777055"/>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Recognize Accomplishments</a:t>
          </a:r>
        </a:p>
      </dsp:txBody>
      <dsp:txXfrm>
        <a:off x="88470" y="1777055"/>
        <a:ext cx="5124203" cy="465836"/>
      </dsp:txXfrm>
    </dsp:sp>
    <dsp:sp modelId="{DED14C54-3C21-478E-813A-755AD321E72B}">
      <dsp:nvSpPr>
        <dsp:cNvPr id="0" name=""/>
        <dsp:cNvSpPr/>
      </dsp:nvSpPr>
      <dsp:spPr>
        <a:xfrm>
          <a:off x="8847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31A6627-3921-4A2D-8661-4DE372666C87}">
      <dsp:nvSpPr>
        <dsp:cNvPr id="0" name=""/>
        <dsp:cNvSpPr/>
      </dsp:nvSpPr>
      <dsp:spPr>
        <a:xfrm>
          <a:off x="808706"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764ABBE-3EF0-4A1D-B1C4-6C93806C5F4F}">
      <dsp:nvSpPr>
        <dsp:cNvPr id="0" name=""/>
        <dsp:cNvSpPr/>
      </dsp:nvSpPr>
      <dsp:spPr>
        <a:xfrm>
          <a:off x="152951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43E8BD-E77A-452D-B80B-55A5789CB422}">
      <dsp:nvSpPr>
        <dsp:cNvPr id="0" name=""/>
        <dsp:cNvSpPr/>
      </dsp:nvSpPr>
      <dsp:spPr>
        <a:xfrm>
          <a:off x="2249746"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9948BC-4792-44BB-A348-E696F901916A}">
      <dsp:nvSpPr>
        <dsp:cNvPr id="0" name=""/>
        <dsp:cNvSpPr/>
      </dsp:nvSpPr>
      <dsp:spPr>
        <a:xfrm>
          <a:off x="297055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A4DF37-FA78-4AB3-AB6B-B4E143DCF66F}">
      <dsp:nvSpPr>
        <dsp:cNvPr id="0" name=""/>
        <dsp:cNvSpPr/>
      </dsp:nvSpPr>
      <dsp:spPr>
        <a:xfrm>
          <a:off x="3690785"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E5A660D-7DC7-4EE0-B8EF-640A2AD33F22}">
      <dsp:nvSpPr>
        <dsp:cNvPr id="0" name=""/>
        <dsp:cNvSpPr/>
      </dsp:nvSpPr>
      <dsp:spPr>
        <a:xfrm>
          <a:off x="4411590" y="2242892"/>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CDF6F4A-81DF-4A84-B5F9-8A911F18A7DB}">
      <dsp:nvSpPr>
        <dsp:cNvPr id="0" name=""/>
        <dsp:cNvSpPr/>
      </dsp:nvSpPr>
      <dsp:spPr>
        <a:xfrm>
          <a:off x="88470" y="2337785"/>
          <a:ext cx="5190818" cy="759141"/>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Finish a chapter, Finish a Lab, Watch a video, Read a white paper… All Accomplishments</a:t>
          </a:r>
        </a:p>
      </dsp:txBody>
      <dsp:txXfrm>
        <a:off x="88470" y="2337785"/>
        <a:ext cx="5190818" cy="759141"/>
      </dsp:txXfrm>
    </dsp:sp>
    <dsp:sp modelId="{1750DEA6-1349-4773-8D83-7B0686008CCB}">
      <dsp:nvSpPr>
        <dsp:cNvPr id="0" name=""/>
        <dsp:cNvSpPr/>
      </dsp:nvSpPr>
      <dsp:spPr>
        <a:xfrm>
          <a:off x="88470" y="3291099"/>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Get Family On Board</a:t>
          </a:r>
        </a:p>
      </dsp:txBody>
      <dsp:txXfrm>
        <a:off x="88470" y="3291099"/>
        <a:ext cx="5124203" cy="465836"/>
      </dsp:txXfrm>
    </dsp:sp>
    <dsp:sp modelId="{015A0644-3C96-4C98-962B-5D0471BF608E}">
      <dsp:nvSpPr>
        <dsp:cNvPr id="0" name=""/>
        <dsp:cNvSpPr/>
      </dsp:nvSpPr>
      <dsp:spPr>
        <a:xfrm>
          <a:off x="8847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C47965-CCA8-4055-A56D-36FA36F10495}">
      <dsp:nvSpPr>
        <dsp:cNvPr id="0" name=""/>
        <dsp:cNvSpPr/>
      </dsp:nvSpPr>
      <dsp:spPr>
        <a:xfrm>
          <a:off x="808706"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5214177-EA78-487F-A042-51A83FA331D9}">
      <dsp:nvSpPr>
        <dsp:cNvPr id="0" name=""/>
        <dsp:cNvSpPr/>
      </dsp:nvSpPr>
      <dsp:spPr>
        <a:xfrm>
          <a:off x="152951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370AF20-FED3-4585-9FB5-E15F7689A43F}">
      <dsp:nvSpPr>
        <dsp:cNvPr id="0" name=""/>
        <dsp:cNvSpPr/>
      </dsp:nvSpPr>
      <dsp:spPr>
        <a:xfrm>
          <a:off x="2249746"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F91B8B-242D-43B8-8FE9-29EB22F913B3}">
      <dsp:nvSpPr>
        <dsp:cNvPr id="0" name=""/>
        <dsp:cNvSpPr/>
      </dsp:nvSpPr>
      <dsp:spPr>
        <a:xfrm>
          <a:off x="297055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D87061-10B0-4CD9-873D-0519C56E9BA3}">
      <dsp:nvSpPr>
        <dsp:cNvPr id="0" name=""/>
        <dsp:cNvSpPr/>
      </dsp:nvSpPr>
      <dsp:spPr>
        <a:xfrm>
          <a:off x="3690785"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4A7A6B8-D189-412B-AC72-947AAFE51E12}">
      <dsp:nvSpPr>
        <dsp:cNvPr id="0" name=""/>
        <dsp:cNvSpPr/>
      </dsp:nvSpPr>
      <dsp:spPr>
        <a:xfrm>
          <a:off x="4411590" y="3756936"/>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C65DA6-CD6F-41DA-9528-0164593EB2E9}">
      <dsp:nvSpPr>
        <dsp:cNvPr id="0" name=""/>
        <dsp:cNvSpPr/>
      </dsp:nvSpPr>
      <dsp:spPr>
        <a:xfrm>
          <a:off x="88470" y="3851828"/>
          <a:ext cx="5190818" cy="759141"/>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Make your goals, their goals.  Trip to Dave &amp; Busters upon completion, ice cream shop for a chapter</a:t>
          </a:r>
        </a:p>
      </dsp:txBody>
      <dsp:txXfrm>
        <a:off x="88470" y="3851828"/>
        <a:ext cx="5190818" cy="7591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90B576-A400-4793-A3FD-8FA56A466CC7}">
      <dsp:nvSpPr>
        <dsp:cNvPr id="0" name=""/>
        <dsp:cNvSpPr/>
      </dsp:nvSpPr>
      <dsp:spPr>
        <a:xfrm>
          <a:off x="88470" y="71489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marL="0" lvl="0" indent="0" algn="l" defTabSz="889000">
            <a:lnSpc>
              <a:spcPct val="90000"/>
            </a:lnSpc>
            <a:spcBef>
              <a:spcPct val="0"/>
            </a:spcBef>
            <a:spcAft>
              <a:spcPct val="35000"/>
            </a:spcAft>
            <a:buNone/>
          </a:pPr>
          <a:r>
            <a:rPr lang="en-US" sz="2000" kern="1200" dirty="0"/>
            <a:t>Learn While Working…</a:t>
          </a:r>
        </a:p>
      </dsp:txBody>
      <dsp:txXfrm>
        <a:off x="88470" y="714892"/>
        <a:ext cx="5124203" cy="465836"/>
      </dsp:txXfrm>
    </dsp:sp>
    <dsp:sp modelId="{48A3AAA3-6209-4302-8040-51EB1328618C}">
      <dsp:nvSpPr>
        <dsp:cNvPr id="0" name=""/>
        <dsp:cNvSpPr/>
      </dsp:nvSpPr>
      <dsp:spPr>
        <a:xfrm>
          <a:off x="8847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F3E66C-27F0-451E-87BB-B04663500BDA}">
      <dsp:nvSpPr>
        <dsp:cNvPr id="0" name=""/>
        <dsp:cNvSpPr/>
      </dsp:nvSpPr>
      <dsp:spPr>
        <a:xfrm>
          <a:off x="808706"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34F7DC3-4E39-4CCD-8151-550807E3432D}">
      <dsp:nvSpPr>
        <dsp:cNvPr id="0" name=""/>
        <dsp:cNvSpPr/>
      </dsp:nvSpPr>
      <dsp:spPr>
        <a:xfrm>
          <a:off x="152951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06B065E-8159-450C-A526-76FBD9EF66BB}">
      <dsp:nvSpPr>
        <dsp:cNvPr id="0" name=""/>
        <dsp:cNvSpPr/>
      </dsp:nvSpPr>
      <dsp:spPr>
        <a:xfrm>
          <a:off x="2249746"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3C70A3-956D-471C-B697-BE60CB26FE2B}">
      <dsp:nvSpPr>
        <dsp:cNvPr id="0" name=""/>
        <dsp:cNvSpPr/>
      </dsp:nvSpPr>
      <dsp:spPr>
        <a:xfrm>
          <a:off x="297055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473EE5-454A-4756-A9BB-7899B42D865C}">
      <dsp:nvSpPr>
        <dsp:cNvPr id="0" name=""/>
        <dsp:cNvSpPr/>
      </dsp:nvSpPr>
      <dsp:spPr>
        <a:xfrm>
          <a:off x="3690785"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3550EE-6FFC-4292-8252-4B08D95F2D80}">
      <dsp:nvSpPr>
        <dsp:cNvPr id="0" name=""/>
        <dsp:cNvSpPr/>
      </dsp:nvSpPr>
      <dsp:spPr>
        <a:xfrm>
          <a:off x="4411590" y="1443168"/>
          <a:ext cx="1199063" cy="948926"/>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5992B2-807E-4DF3-8B69-82685550EC82}">
      <dsp:nvSpPr>
        <dsp:cNvPr id="0" name=""/>
        <dsp:cNvSpPr/>
      </dsp:nvSpPr>
      <dsp:spPr>
        <a:xfrm>
          <a:off x="88470" y="1180729"/>
          <a:ext cx="5190818" cy="1473804"/>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Your projects</a:t>
          </a:r>
        </a:p>
        <a:p>
          <a:pPr marL="0" lvl="0" indent="0" algn="l" defTabSz="800100">
            <a:lnSpc>
              <a:spcPct val="90000"/>
            </a:lnSpc>
            <a:spcBef>
              <a:spcPct val="0"/>
            </a:spcBef>
            <a:spcAft>
              <a:spcPct val="35000"/>
            </a:spcAft>
            <a:buNone/>
          </a:pPr>
          <a:r>
            <a:rPr lang="en-US" sz="1800" kern="1200" dirty="0"/>
            <a:t>Peers Projects</a:t>
          </a:r>
        </a:p>
        <a:p>
          <a:pPr marL="0" lvl="0" indent="0" algn="l" defTabSz="800100">
            <a:lnSpc>
              <a:spcPct val="90000"/>
            </a:lnSpc>
            <a:spcBef>
              <a:spcPct val="0"/>
            </a:spcBef>
            <a:spcAft>
              <a:spcPct val="35000"/>
            </a:spcAft>
            <a:buNone/>
          </a:pPr>
          <a:r>
            <a:rPr lang="en-US" sz="1800" kern="1200" dirty="0"/>
            <a:t>Others</a:t>
          </a:r>
        </a:p>
      </dsp:txBody>
      <dsp:txXfrm>
        <a:off x="88470" y="1180729"/>
        <a:ext cx="5190818" cy="147380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7C5C5C-27BB-4312-8A19-25E7DD9F1A62}">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Practice &amp; Experience</a:t>
          </a:r>
        </a:p>
      </dsp:txBody>
      <dsp:txXfrm>
        <a:off x="547303" y="942"/>
        <a:ext cx="4272674" cy="388424"/>
      </dsp:txXfrm>
    </dsp:sp>
    <dsp:sp modelId="{85CEC161-112B-4CD9-BE2D-B800BE6F9038}">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E4C55E2-1E3C-4A39-8B1E-B93E9CCFB6E4}">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DC0FA92-24F1-416E-BEC8-2F209C65A5BB}">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824CA5-4241-4D0C-94FE-2C33A7BAFD19}">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5D18AE-98F0-4802-A2C0-CAC4475A9A66}">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7A0C9B4-2717-4739-A556-BE89D380298C}">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C04F5B-F05F-4623-8534-324141AD2F23}">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C7CC22-1276-4B72-AF5D-7863C6152902}">
      <dsp:nvSpPr>
        <dsp:cNvPr id="0" name=""/>
        <dsp:cNvSpPr/>
      </dsp:nvSpPr>
      <dsp:spPr>
        <a:xfrm>
          <a:off x="547303" y="468490"/>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NO SUBSTITUTE!  Do the labs; Azure @ Work</a:t>
          </a:r>
        </a:p>
      </dsp:txBody>
      <dsp:txXfrm>
        <a:off x="547303" y="468490"/>
        <a:ext cx="4328218" cy="632988"/>
      </dsp:txXfrm>
    </dsp:sp>
    <dsp:sp modelId="{9722DE8D-AF8E-48CB-BCFE-4B949D8CFB9B}">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Take the test</a:t>
          </a:r>
        </a:p>
      </dsp:txBody>
      <dsp:txXfrm>
        <a:off x="547303" y="1263385"/>
        <a:ext cx="4272674" cy="388424"/>
      </dsp:txXfrm>
    </dsp:sp>
    <dsp:sp modelId="{CCDC95B0-206D-4A5C-8336-4AB3EB6ED06C}">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C38F071-683F-44DE-A835-C50D11088D7D}">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BA42FF-F4B6-4FC2-86B6-EFC2F086D1BE}">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543A743-7FF4-450B-8E6E-B4E1EF929D2B}">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759E5F4-204D-4A17-B0E7-445210005D14}">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D2D155-8B61-4099-9F77-1278418DC8EB}">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BACA11-FBD8-4580-BC14-313A0075ECE0}">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38DE373-4C16-43BA-8630-85A0426EFAB9}">
      <dsp:nvSpPr>
        <dsp:cNvPr id="0" name=""/>
        <dsp:cNvSpPr/>
      </dsp:nvSpPr>
      <dsp:spPr>
        <a:xfrm>
          <a:off x="547303" y="1730934"/>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2nd shot?  Much easier after you take it because you know where you are weak </a:t>
          </a:r>
          <a:r>
            <a:rPr lang="en-US" sz="1700" kern="1200" dirty="0">
              <a:sym typeface="Wingdings" panose="05000000000000000000" pitchFamily="2" charset="2"/>
            </a:rPr>
            <a:t></a:t>
          </a:r>
          <a:endParaRPr lang="en-US" sz="1700" kern="1200" dirty="0"/>
        </a:p>
      </dsp:txBody>
      <dsp:txXfrm>
        <a:off x="547303" y="1730934"/>
        <a:ext cx="4328218" cy="632988"/>
      </dsp:txXfrm>
    </dsp:sp>
    <dsp:sp modelId="{33546F62-5B4D-463E-A629-8D7CB5443E0A}">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Ultra Focus With Intent</a:t>
          </a:r>
          <a:endParaRPr lang="en-US" sz="2400" kern="1200" dirty="0"/>
        </a:p>
      </dsp:txBody>
      <dsp:txXfrm>
        <a:off x="547303" y="2525828"/>
        <a:ext cx="4272674" cy="388424"/>
      </dsp:txXfrm>
    </dsp:sp>
    <dsp:sp modelId="{0429CF0C-436E-4B08-9AAE-0B6DC525767F}">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46A7FC-A51E-4B6C-86BD-5A26735B215D}">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101A80-B9DF-4179-B688-E50E5B58A390}">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A59DE8-62E1-4EFF-BC01-ED85D5DB50DC}">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197D27-422E-4928-AC01-1C9A400C1613}">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C0977BD-C1B3-464B-A9FB-0F547B90C9A4}">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4ED82B-3A30-4462-BB06-88779C06DE10}">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1ADDC0-7DD6-40BD-A435-6119E05C0184}">
      <dsp:nvSpPr>
        <dsp:cNvPr id="0" name=""/>
        <dsp:cNvSpPr/>
      </dsp:nvSpPr>
      <dsp:spPr>
        <a:xfrm>
          <a:off x="547303" y="2993377"/>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080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Don’t</a:t>
          </a:r>
          <a:r>
            <a:rPr lang="en-US" sz="2400" kern="1200" dirty="0"/>
            <a:t> let your mind wander; You are on a mission to learn FAST!</a:t>
          </a:r>
        </a:p>
      </dsp:txBody>
      <dsp:txXfrm>
        <a:off x="547303" y="2993377"/>
        <a:ext cx="4328218" cy="632988"/>
      </dsp:txXfrm>
    </dsp:sp>
    <dsp:sp modelId="{F4F5E702-F8AF-4476-A9BE-16E6B315C8D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Objective – Pass the Exam!</a:t>
          </a:r>
        </a:p>
      </dsp:txBody>
      <dsp:txXfrm>
        <a:off x="547303" y="3788271"/>
        <a:ext cx="4272674" cy="388424"/>
      </dsp:txXfrm>
    </dsp:sp>
    <dsp:sp modelId="{847370B5-C8A8-4175-BFBC-900745DC9F55}">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4FF437-077E-435A-B4EB-74479F49352A}">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506A7C-0125-4D40-8134-3F5BCEF44072}">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59EAB88-F255-4BDE-AA3F-10155F959255}">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AEC293-28B9-4F39-BB7E-A69C5BACE444}">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ADE5D5-3BD7-4189-BCB0-C41B7B458231}">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A0170BA-0FE0-470F-9347-114A5FDA8CED}">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A8A92A-21B6-4EEF-9E0D-938E2818B0AB}">
      <dsp:nvSpPr>
        <dsp:cNvPr id="0" name=""/>
        <dsp:cNvSpPr/>
      </dsp:nvSpPr>
      <dsp:spPr>
        <a:xfrm>
          <a:off x="547303" y="4255820"/>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After you pass the test, you can work on learning more and developing your career</a:t>
          </a:r>
        </a:p>
      </dsp:txBody>
      <dsp:txXfrm>
        <a:off x="547303" y="4255820"/>
        <a:ext cx="4328218" cy="6329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547303" y="942"/>
        <a:ext cx="4272674" cy="388424"/>
      </dsp:txXfrm>
    </dsp:sp>
    <dsp:sp modelId="{51367107-8700-4A1B-B57E-EAECFB877859}">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547303" y="468490"/>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Excuses are Easy; Results are forever!  Just Do IT!</a:t>
          </a:r>
        </a:p>
      </dsp:txBody>
      <dsp:txXfrm>
        <a:off x="547303" y="468490"/>
        <a:ext cx="4328218" cy="632988"/>
      </dsp:txXfrm>
    </dsp:sp>
    <dsp:sp modelId="{E161D1FB-428E-4E87-809F-28ECDBB8395D}">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547303" y="1263385"/>
        <a:ext cx="4272674" cy="388424"/>
      </dsp:txXfrm>
    </dsp:sp>
    <dsp:sp modelId="{3A2A1305-7A52-4FD4-9F5E-897035FC881F}">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547303" y="1730934"/>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t>What is your time worth?  When you are sitting in front of the tube, that is what it is costing you</a:t>
          </a:r>
        </a:p>
      </dsp:txBody>
      <dsp:txXfrm>
        <a:off x="547303" y="1730934"/>
        <a:ext cx="4328218" cy="632988"/>
      </dsp:txXfrm>
    </dsp:sp>
    <dsp:sp modelId="{4E668978-DD2E-4455-8F1B-460890CEDDD0}">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Dedicated Study time</a:t>
          </a:r>
        </a:p>
      </dsp:txBody>
      <dsp:txXfrm>
        <a:off x="547303" y="2525828"/>
        <a:ext cx="4272674" cy="388424"/>
      </dsp:txXfrm>
    </dsp:sp>
    <dsp:sp modelId="{1185CAAF-D23B-4B96-A044-FF5C28F24859}">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7A619F-E82B-4A9D-8E03-ADD7F3A04761}">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51AF3A-90E8-4FF7-94B9-607493F493F5}">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E46F09-FFC4-403D-8EAB-C5598E735292}">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CA0293-0467-42C1-98F1-C385719E54CD}">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72F9714-3B2C-41F8-ABA2-2AD13481E570}">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138509-142F-489D-97C1-413B3041444A}">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8CEAD29-E03C-42DC-BC09-1B4E055CFC2D}">
      <dsp:nvSpPr>
        <dsp:cNvPr id="0" name=""/>
        <dsp:cNvSpPr/>
      </dsp:nvSpPr>
      <dsp:spPr>
        <a:xfrm>
          <a:off x="547303" y="2993377"/>
          <a:ext cx="4328218" cy="632988"/>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t>30 mins Day/night Pick a time; make it happen!</a:t>
          </a:r>
        </a:p>
      </dsp:txBody>
      <dsp:txXfrm>
        <a:off x="547303" y="2993377"/>
        <a:ext cx="4328218" cy="632988"/>
      </dsp:txXfrm>
    </dsp:sp>
    <dsp:sp modelId="{C652C35B-E3D1-4411-B684-28295DBB62F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b" anchorCtr="0">
          <a:noAutofit/>
        </a:bodyPr>
        <a:lstStyle/>
        <a:p>
          <a:pPr marL="0" lvl="0" indent="0" algn="l" defTabSz="755650">
            <a:lnSpc>
              <a:spcPct val="90000"/>
            </a:lnSpc>
            <a:spcBef>
              <a:spcPct val="0"/>
            </a:spcBef>
            <a:spcAft>
              <a:spcPct val="35000"/>
            </a:spcAft>
            <a:buNone/>
          </a:pPr>
          <a:r>
            <a:rPr lang="en-US" sz="1700" b="1" kern="1200"/>
            <a:t>Read Faster</a:t>
          </a:r>
          <a:endParaRPr lang="en-US" sz="1700" b="1" kern="1200" dirty="0"/>
        </a:p>
      </dsp:txBody>
      <dsp:txXfrm>
        <a:off x="547303" y="3788271"/>
        <a:ext cx="4272674" cy="388424"/>
      </dsp:txXfrm>
    </dsp:sp>
    <dsp:sp modelId="{E6C1B811-16F7-40E6-A3C6-9BF9B07AD014}">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906D3E-1CF6-42BA-A2B7-544896BCA658}">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D45DDD-AB74-46CC-A22E-B43B6D6FFBFA}">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800A51-EEF9-4A11-ACDE-BFB6B164518D}">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33698D-2C70-4EDE-9B51-FF2453F479AB}">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DFE717-589A-4F64-8F5E-300331375BDC}">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718D9C-F534-46FD-99D4-42B12B4D0CF8}">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2D7890-8089-4415-8CDF-9540B6A09B9D}">
      <dsp:nvSpPr>
        <dsp:cNvPr id="0" name=""/>
        <dsp:cNvSpPr/>
      </dsp:nvSpPr>
      <dsp:spPr>
        <a:xfrm>
          <a:off x="547303" y="4316188"/>
          <a:ext cx="4328218" cy="512252"/>
        </a:xfrm>
        <a:prstGeom prst="re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DO NOT GO BACK! </a:t>
          </a:r>
          <a:endParaRPr lang="en-US" sz="1200" b="1" kern="1200" dirty="0"/>
        </a:p>
        <a:p>
          <a:pPr marL="0" lvl="0" indent="0" algn="l" defTabSz="533400">
            <a:lnSpc>
              <a:spcPct val="90000"/>
            </a:lnSpc>
            <a:spcBef>
              <a:spcPct val="0"/>
            </a:spcBef>
            <a:spcAft>
              <a:spcPct val="35000"/>
            </a:spcAft>
            <a:buNone/>
          </a:pPr>
          <a:r>
            <a:rPr lang="en-US" sz="1200" b="1" kern="1200" dirty="0"/>
            <a:t>Use your finger, keep it moving make eyes follow</a:t>
          </a:r>
        </a:p>
      </dsp:txBody>
      <dsp:txXfrm>
        <a:off x="547303" y="4316188"/>
        <a:ext cx="4328218" cy="512252"/>
      </dsp:txXfrm>
    </dsp:sp>
  </dsp:spTree>
</dsp:drawing>
</file>

<file path=ppt/diagrams/layout1.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5/23/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5/2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a:t>
            </a:fld>
            <a:endParaRPr lang="en-US"/>
          </a:p>
        </p:txBody>
      </p:sp>
    </p:spTree>
    <p:extLst>
      <p:ext uri="{BB962C8B-B14F-4D97-AF65-F5344CB8AC3E}">
        <p14:creationId xmlns:p14="http://schemas.microsoft.com/office/powerpoint/2010/main" val="38670347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4048764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15272811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9134095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Presentation:</a:t>
            </a:r>
            <a:r>
              <a:rPr lang="en-US" sz="1000" b="1" dirty="0">
                <a:effectLst/>
                <a:latin typeface="Arial" panose="020B0604020202020204" pitchFamily="34" charset="0"/>
                <a:ea typeface="Calibri" panose="020F0502020204030204" pitchFamily="34" charset="0"/>
                <a:cs typeface="Times New Roman" panose="02020603050405020304" pitchFamily="18" charset="0"/>
              </a:rPr>
              <a:t> 105 minutes</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Lab:</a:t>
            </a:r>
            <a:r>
              <a:rPr lang="en-US" sz="1000" b="1" dirty="0">
                <a:effectLst/>
                <a:latin typeface="Arial" panose="020B0604020202020204" pitchFamily="34" charset="0"/>
                <a:ea typeface="Calibri" panose="020F0502020204030204" pitchFamily="34" charset="0"/>
                <a:cs typeface="Times New Roman" panose="02020603050405020304" pitchFamily="18" charset="0"/>
              </a:rPr>
              <a:t> 50 minutes </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effectLst/>
                <a:latin typeface="Arial" panose="020B0604020202020204" pitchFamily="34" charset="0"/>
                <a:ea typeface="Calibri" panose="020F0502020204030204" pitchFamily="34" charset="0"/>
                <a:cs typeface="Segoe UI" panose="020B0502040204020203" pitchFamily="34" charset="0"/>
              </a:rPr>
              <a:t>After completing this module, students will be able to:</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Identify suitable workloads for the cloud.</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Identify services and capabilities that Microsoft Azure provides.</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Use Azure portals to manage Azure services and subscriptions.</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Use Windows PowerShell to manage Azure services and subscriptions.</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Use Azure Command-Line Interface (CLI) to manage Azure services and subscriptions.</a:t>
            </a:r>
          </a:p>
          <a:p>
            <a:pPr marL="342900" marR="0" lvl="0" indent="-342900">
              <a:lnSpc>
                <a:spcPct val="115000"/>
              </a:lnSpc>
              <a:spcBef>
                <a:spcPts val="0"/>
              </a:spcBef>
              <a:spcAft>
                <a:spcPts val="995"/>
              </a:spcAft>
              <a:buFont typeface="Symbol" panose="05050102010706020507" pitchFamily="18" charset="2"/>
              <a:buChar char=""/>
            </a:pP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Describe the primary characteristics of Azure Resource Manager.</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Use Azure services to enhance management and monitoring of Azure.</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a:lnSpc>
                <a:spcPts val="1300"/>
              </a:lnSpc>
              <a:spcBef>
                <a:spcPts val="900"/>
              </a:spcBef>
              <a:spcAft>
                <a:spcPts val="300"/>
              </a:spcAft>
            </a:pPr>
            <a:r>
              <a:rPr lang="en-US" sz="1000" b="1" dirty="0">
                <a:effectLst/>
                <a:latin typeface="Arial" panose="020B0604020202020204" pitchFamily="34" charset="0"/>
                <a:ea typeface="Times New Roman" panose="02020603050405020304" pitchFamily="18" charset="0"/>
                <a:cs typeface="Segoe UI" panose="020B0502040204020203" pitchFamily="34" charset="0"/>
              </a:rPr>
              <a:t>Required materials</a:t>
            </a:r>
          </a:p>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To teach this module, you need the Microsoft PowerPoint file</a:t>
            </a:r>
            <a:r>
              <a:rPr lang="en-US" sz="1000" dirty="0">
                <a:effectLst/>
                <a:latin typeface="Arial" panose="020B0604020202020204" pitchFamily="34" charset="0"/>
                <a:ea typeface="Calibri" panose="020F0502020204030204" pitchFamily="34" charset="0"/>
                <a:cs typeface="Segoe UI" panose="020B0502040204020203" pitchFamily="34" charset="0"/>
              </a:rPr>
              <a:t> </a:t>
            </a:r>
            <a:r>
              <a:rPr lang="en-US" sz="1000" b="1" dirty="0">
                <a:effectLst/>
                <a:latin typeface="Arial" panose="020B0604020202020204" pitchFamily="34" charset="0"/>
                <a:ea typeface="Calibri" panose="020F0502020204030204" pitchFamily="34" charset="0"/>
                <a:cs typeface="Times New Roman" panose="02020603050405020304" pitchFamily="18" charset="0"/>
              </a:rPr>
              <a:t>20533D_01.pptx</a:t>
            </a:r>
            <a:r>
              <a:rPr lang="en-US" sz="1000" dirty="0">
                <a:effectLst/>
                <a:latin typeface="Arial" panose="020B0604020202020204" pitchFamily="34" charset="0"/>
                <a:ea typeface="Calibri" panose="020F0502020204030204" pitchFamily="34" charset="0"/>
                <a:cs typeface="Segoe UI" panose="020B0502040204020203" pitchFamily="34" charset="0"/>
              </a:rPr>
              <a:t>.</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dirty="0">
                <a:effectLst/>
                <a:latin typeface="Arial" panose="020B0604020202020204" pitchFamily="34" charset="0"/>
                <a:ea typeface="Calibri" panose="020F0502020204030204" pitchFamily="34" charset="0"/>
                <a:cs typeface="Times New Roman" panose="02020603050405020304" pitchFamily="18" charset="0"/>
              </a:rPr>
              <a:t>Preparation tasks</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To prepare for this module, you should:</a:t>
            </a:r>
          </a:p>
          <a:p>
            <a:pPr marL="342900" lvl="0" indent="-342900">
              <a:lnSpc>
                <a:spcPct val="115000"/>
              </a:lnSpc>
              <a:spcBef>
                <a:spcPts val="0"/>
              </a:spcBef>
              <a:spcAft>
                <a:spcPts val="995"/>
              </a:spcAft>
              <a:buFont typeface="+mj-lt"/>
              <a:buAutoNum type="arabicPeriod"/>
            </a:pPr>
            <a:r>
              <a:rPr lang="en-US" sz="1000" dirty="0">
                <a:effectLst/>
                <a:latin typeface="Arial" panose="020B0604020202020204" pitchFamily="34" charset="0"/>
                <a:ea typeface="Times New Roman" panose="02020603050405020304" pitchFamily="18" charset="0"/>
                <a:cs typeface="Times New Roman" panose="02020603050405020304" pitchFamily="18" charset="0"/>
              </a:rPr>
              <a:t>Read all this module’s materials.</a:t>
            </a:r>
            <a:endParaRPr lang="en-US" sz="1000" dirty="0">
              <a:effectLst/>
              <a:latin typeface="Arial" panose="020B0604020202020204" pitchFamily="34" charset="0"/>
            </a:endParaRPr>
          </a:p>
          <a:p>
            <a:pPr marL="342900" lvl="0" indent="-342900">
              <a:lnSpc>
                <a:spcPct val="115000"/>
              </a:lnSpc>
              <a:spcBef>
                <a:spcPts val="0"/>
              </a:spcBef>
              <a:spcAft>
                <a:spcPts val="995"/>
              </a:spcAft>
              <a:buFont typeface="+mj-lt"/>
              <a:buAutoNum type="arabicPeriod"/>
            </a:pPr>
            <a:r>
              <a:rPr lang="en-US" sz="1000" dirty="0">
                <a:effectLst/>
                <a:latin typeface="Arial" panose="020B0604020202020204" pitchFamily="34" charset="0"/>
                <a:ea typeface="Times New Roman" panose="02020603050405020304" pitchFamily="18" charset="0"/>
                <a:cs typeface="Times New Roman" panose="02020603050405020304" pitchFamily="18" charset="0"/>
              </a:rPr>
              <a:t>Practice performing the demonstrations and labs.</a:t>
            </a:r>
            <a:endParaRPr lang="en-US" sz="1000" dirty="0">
              <a:effectLst/>
              <a:latin typeface="Arial" panose="020B0604020202020204" pitchFamily="34" charset="0"/>
            </a:endParaRPr>
          </a:p>
          <a:p>
            <a:pPr marL="342900" lvl="0" indent="-342900">
              <a:lnSpc>
                <a:spcPct val="115000"/>
              </a:lnSpc>
              <a:spcBef>
                <a:spcPts val="0"/>
              </a:spcBef>
              <a:spcAft>
                <a:spcPts val="995"/>
              </a:spcAft>
              <a:buFont typeface="+mj-lt"/>
              <a:buAutoNum type="arabicPeriod"/>
            </a:pPr>
            <a:r>
              <a:rPr lang="en-US" sz="1000" dirty="0">
                <a:effectLst/>
                <a:latin typeface="Arial" panose="020B0604020202020204" pitchFamily="34" charset="0"/>
                <a:ea typeface="Times New Roman" panose="02020603050405020304" pitchFamily="18" charset="0"/>
                <a:cs typeface="Times New Roman" panose="02020603050405020304" pitchFamily="18" charset="0"/>
              </a:rPr>
              <a:t>Work through the Module Review and Takeaways section to determine how you will use the information to reinforce student learning and promote knowledge transfer to on-the-job performance.</a:t>
            </a:r>
            <a:endParaRPr lang="en-US" sz="1000" dirty="0">
              <a:effectLst/>
              <a:latin typeface="Arial" panose="020B0604020202020204" pitchFamily="34" charset="0"/>
            </a:endParaRPr>
          </a:p>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As you prepare for this class, it is imperative that you complete the labs yourself. This gives you an understanding of how the labs work, as well as the concepts that each lab covers. This enables you to provide meaningful hints to students who might have issues while working in the labs. Furthermore, it will help guide your lecture to ensure that you discuss the concepts that the labs cover.</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9E9337-0361-41F3-9C17-1F4FFD1214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Introduction to Microsoft Azure</a:t>
            </a:r>
          </a:p>
        </p:txBody>
      </p:sp>
    </p:spTree>
    <p:extLst>
      <p:ext uri="{BB962C8B-B14F-4D97-AF65-F5344CB8AC3E}">
        <p14:creationId xmlns:p14="http://schemas.microsoft.com/office/powerpoint/2010/main" val="2025364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4 - https://mva.microsoft.com/en-US/training-courses/certification-exam-overview-70535-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3</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4</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5</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panose="020B0502040504020203"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E2FF7759-803D-4F76-9AEC-98B2D9A07B0D}" type="slidenum">
              <a:rPr lang="en-US" smtClean="0"/>
              <a:t>3</a:t>
            </a:fld>
            <a:endParaRPr lang="en-US" dirty="0"/>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dirty="0">
                <a:latin typeface="Arial" pitchFamily="34" charset="0"/>
                <a:cs typeface="Arial" pitchFamily="34" charset="0"/>
              </a:rPr>
              <a:t>Course 10971A</a:t>
            </a:r>
          </a:p>
          <a:p>
            <a:pPr algn="l">
              <a:defRPr/>
            </a:pPr>
            <a:r>
              <a:rPr lang="en-US" b="1" dirty="0">
                <a:solidFill>
                  <a:srgbClr val="336699"/>
                </a:solidFill>
                <a:latin typeface="Arial" pitchFamily="34" charset="0"/>
                <a:cs typeface="Arial" pitchFamily="34" charset="0"/>
              </a:rPr>
              <a:t>Module</a:t>
            </a:r>
            <a:r>
              <a:rPr lang="en-US" b="1" dirty="0">
                <a:latin typeface="Arial" pitchFamily="34" charset="0"/>
                <a:cs typeface="Arial" pitchFamily="34" charset="0"/>
              </a:rPr>
              <a:t> </a:t>
            </a:r>
            <a:r>
              <a:rPr lang="en-US" b="1" dirty="0">
                <a:solidFill>
                  <a:srgbClr val="336699"/>
                </a:solidFill>
                <a:latin typeface="Arial" pitchFamily="34" charset="0"/>
                <a:cs typeface="Arial" pitchFamily="34" charset="0"/>
              </a:rPr>
              <a:t>0: Introduction</a:t>
            </a:r>
          </a:p>
          <a:p>
            <a:pPr>
              <a:defRPr/>
            </a:pPr>
            <a:endParaRPr lang="en-US" dirty="0"/>
          </a:p>
          <a:p>
            <a:pPr>
              <a:defRPr/>
            </a:pPr>
            <a:endParaRPr lang="en-US" dirty="0"/>
          </a:p>
        </p:txBody>
      </p:sp>
    </p:spTree>
    <p:extLst>
      <p:ext uri="{BB962C8B-B14F-4D97-AF65-F5344CB8AC3E}">
        <p14:creationId xmlns:p14="http://schemas.microsoft.com/office/powerpoint/2010/main" val="1263999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u="sng" strike="noStrike" kern="1200" dirty="0">
                <a:solidFill>
                  <a:schemeClr val="tx1"/>
                </a:solidFill>
                <a:effectLst/>
                <a:latin typeface="+mn-lt"/>
                <a:ea typeface="+mn-ea"/>
                <a:cs typeface="+mn-cs"/>
              </a:rPr>
              <a:t>Get Confident</a:t>
            </a:r>
          </a:p>
          <a:p>
            <a:pPr fontAlgn="base"/>
            <a:endParaRPr lang="en-US" sz="1200" b="0" i="0" u="none" strike="noStrike" kern="1200" dirty="0">
              <a:solidFill>
                <a:schemeClr val="tx1"/>
              </a:solidFill>
              <a:effectLst/>
              <a:latin typeface="+mn-lt"/>
              <a:ea typeface="+mn-ea"/>
              <a:cs typeface="+mn-cs"/>
            </a:endParaRPr>
          </a:p>
          <a:p>
            <a:pPr fontAlgn="base"/>
            <a:endParaRPr lang="en-US" sz="1200" b="0" i="0" u="none" strike="noStrike" kern="1200" dirty="0">
              <a:solidFill>
                <a:schemeClr val="tx1"/>
              </a:solidFill>
              <a:effectLst/>
              <a:latin typeface="+mn-lt"/>
              <a:ea typeface="+mn-ea"/>
              <a:cs typeface="+mn-cs"/>
            </a:endParaRPr>
          </a:p>
          <a:p>
            <a:pPr fontAlgn="base"/>
            <a:r>
              <a:rPr lang="en-US" sz="1200" b="0" i="0" u="sng" strike="noStrike" kern="1200" dirty="0">
                <a:solidFill>
                  <a:schemeClr val="tx1"/>
                </a:solidFill>
                <a:effectLst/>
                <a:latin typeface="+mn-lt"/>
                <a:ea typeface="+mn-ea"/>
                <a:cs typeface="+mn-cs"/>
              </a:rPr>
              <a:t>Get hired and be productive, faster</a:t>
            </a:r>
          </a:p>
          <a:p>
            <a:pPr fontAlgn="base"/>
            <a:r>
              <a:rPr lang="en-US" sz="1200" b="0" i="0" u="none" strike="noStrike" kern="1200" dirty="0">
                <a:solidFill>
                  <a:schemeClr val="tx1"/>
                </a:solidFill>
                <a:effectLst/>
                <a:latin typeface="+mn-lt"/>
                <a:ea typeface="+mn-ea"/>
                <a:cs typeface="+mn-cs"/>
              </a:rPr>
              <a:t>Certifications fuel new and valuable careers. Microsoft Certified Professionals spend less time interviewing and more time driving value. Adding a Microsoft certification to your resume helps you stand out and get hired—faster. In some cases, certification has allowed hiring managers to fill positions </a:t>
            </a:r>
            <a:r>
              <a:rPr lang="en-US" sz="1200" b="1" i="0" u="none" strike="noStrike" kern="1200" dirty="0">
                <a:solidFill>
                  <a:schemeClr val="tx1"/>
                </a:solidFill>
                <a:effectLst/>
                <a:latin typeface="+mn-lt"/>
                <a:ea typeface="+mn-ea"/>
                <a:cs typeface="+mn-cs"/>
              </a:rPr>
              <a:t>25%</a:t>
            </a:r>
            <a:r>
              <a:rPr lang="en-US" sz="1200" b="0" i="0" u="none" strike="noStrike" kern="1200" dirty="0">
                <a:solidFill>
                  <a:schemeClr val="tx1"/>
                </a:solidFill>
                <a:effectLst/>
                <a:latin typeface="+mn-lt"/>
                <a:ea typeface="+mn-ea"/>
                <a:cs typeface="+mn-cs"/>
              </a:rPr>
              <a:t> more quickly. What’s more, certified new hires are fully productive an </a:t>
            </a:r>
            <a:r>
              <a:rPr lang="en-US" sz="1200" b="1" i="0" u="none" strike="noStrike" kern="1200" dirty="0">
                <a:solidFill>
                  <a:schemeClr val="tx1"/>
                </a:solidFill>
                <a:effectLst/>
                <a:latin typeface="+mn-lt"/>
                <a:ea typeface="+mn-ea"/>
                <a:cs typeface="+mn-cs"/>
              </a:rPr>
              <a:t>entire month sooner</a:t>
            </a:r>
            <a:r>
              <a:rPr lang="en-US" sz="1200" b="0" i="0" u="none" strike="noStrike" kern="1200" dirty="0">
                <a:solidFill>
                  <a:schemeClr val="tx1"/>
                </a:solidFill>
                <a:effectLst/>
                <a:latin typeface="+mn-lt"/>
                <a:ea typeface="+mn-ea"/>
                <a:cs typeface="+mn-cs"/>
              </a:rPr>
              <a:t> than their uncertified peers. This level of productivity makes your impact and skills clearly stand out. </a:t>
            </a:r>
          </a:p>
          <a:p>
            <a:pPr fontAlgn="base"/>
            <a:endParaRPr lang="en-US" sz="1200" b="0" i="0" u="none" strike="noStrike" kern="1200" dirty="0">
              <a:solidFill>
                <a:schemeClr val="tx1"/>
              </a:solidFill>
              <a:effectLst/>
              <a:latin typeface="+mn-lt"/>
              <a:ea typeface="+mn-ea"/>
              <a:cs typeface="+mn-cs"/>
            </a:endParaRPr>
          </a:p>
          <a:p>
            <a:pPr fontAlgn="base"/>
            <a:r>
              <a:rPr lang="en-US" sz="1200" b="0" i="0" u="sng" strike="noStrike" kern="1200" dirty="0">
                <a:solidFill>
                  <a:schemeClr val="tx1"/>
                </a:solidFill>
                <a:effectLst/>
                <a:latin typeface="+mn-lt"/>
                <a:ea typeface="+mn-ea"/>
                <a:cs typeface="+mn-cs"/>
              </a:rPr>
              <a:t>Make noticeable business impact</a:t>
            </a:r>
          </a:p>
          <a:p>
            <a:pPr fontAlgn="base"/>
            <a:r>
              <a:rPr lang="en-US" sz="1200" b="0" i="0" u="none" strike="noStrike" kern="1200" dirty="0">
                <a:solidFill>
                  <a:schemeClr val="tx1"/>
                </a:solidFill>
                <a:effectLst/>
                <a:latin typeface="+mn-lt"/>
                <a:ea typeface="+mn-ea"/>
                <a:cs typeface="+mn-cs"/>
              </a:rPr>
              <a:t>Take your career to the next level. Microsoft Certified Professionals make immediate impact, helping you get noticed and move forward quickly in your career. Compared to their peers, Microsoft certified developers are </a:t>
            </a:r>
            <a:r>
              <a:rPr lang="en-US" sz="1200" b="1" i="0" u="none" strike="noStrike" kern="1200" dirty="0">
                <a:solidFill>
                  <a:schemeClr val="tx1"/>
                </a:solidFill>
                <a:effectLst/>
                <a:latin typeface="+mn-lt"/>
                <a:ea typeface="+mn-ea"/>
                <a:cs typeface="+mn-cs"/>
              </a:rPr>
              <a:t>90%</a:t>
            </a:r>
            <a:r>
              <a:rPr lang="en-US" sz="1200" b="0" i="0" u="none" strike="noStrike" kern="1200" dirty="0">
                <a:solidFill>
                  <a:schemeClr val="tx1"/>
                </a:solidFill>
                <a:effectLst/>
                <a:latin typeface="+mn-lt"/>
                <a:ea typeface="+mn-ea"/>
                <a:cs typeface="+mn-cs"/>
              </a:rPr>
              <a:t> more productive and nearly </a:t>
            </a:r>
            <a:r>
              <a:rPr lang="en-US" sz="1200" b="1" i="0" u="none" strike="noStrike" kern="1200" dirty="0">
                <a:solidFill>
                  <a:schemeClr val="tx1"/>
                </a:solidFill>
                <a:effectLst/>
                <a:latin typeface="+mn-lt"/>
                <a:ea typeface="+mn-ea"/>
                <a:cs typeface="+mn-cs"/>
              </a:rPr>
              <a:t>60%</a:t>
            </a:r>
            <a:r>
              <a:rPr lang="en-US" sz="1200" b="0" i="0" u="none" strike="noStrike" kern="1200" dirty="0">
                <a:solidFill>
                  <a:schemeClr val="tx1"/>
                </a:solidFill>
                <a:effectLst/>
                <a:latin typeface="+mn-lt"/>
                <a:ea typeface="+mn-ea"/>
                <a:cs typeface="+mn-cs"/>
              </a:rPr>
              <a:t> more efficient. This means that they make nearly </a:t>
            </a:r>
            <a:r>
              <a:rPr lang="en-US" sz="1200" b="1" i="0" u="none" strike="noStrike" kern="1200" dirty="0">
                <a:solidFill>
                  <a:schemeClr val="tx1"/>
                </a:solidFill>
                <a:effectLst/>
                <a:latin typeface="+mn-lt"/>
                <a:ea typeface="+mn-ea"/>
                <a:cs typeface="+mn-cs"/>
              </a:rPr>
              <a:t>twice as many applications per year</a:t>
            </a:r>
            <a:r>
              <a:rPr lang="en-US" sz="1200" b="0" i="0" u="none" strike="noStrike" kern="1200" dirty="0">
                <a:solidFill>
                  <a:schemeClr val="tx1"/>
                </a:solidFill>
                <a:effectLst/>
                <a:latin typeface="+mn-lt"/>
                <a:ea typeface="+mn-ea"/>
                <a:cs typeface="+mn-cs"/>
              </a:rPr>
              <a:t> and in </a:t>
            </a:r>
            <a:r>
              <a:rPr lang="en-US" sz="1200" b="1" i="0" u="none" strike="noStrike" kern="1200" dirty="0">
                <a:solidFill>
                  <a:schemeClr val="tx1"/>
                </a:solidFill>
                <a:effectLst/>
                <a:latin typeface="+mn-lt"/>
                <a:ea typeface="+mn-ea"/>
                <a:cs typeface="+mn-cs"/>
              </a:rPr>
              <a:t>half the time per application</a:t>
            </a:r>
            <a:r>
              <a:rPr lang="en-US" sz="1200" b="0" i="0" u="none" strike="noStrike" kern="1200" dirty="0">
                <a:solidFill>
                  <a:schemeClr val="tx1"/>
                </a:solidFill>
                <a:effectLst/>
                <a:latin typeface="+mn-lt"/>
                <a:ea typeface="+mn-ea"/>
                <a:cs typeface="+mn-cs"/>
              </a:rPr>
              <a:t>. </a:t>
            </a:r>
          </a:p>
          <a:p>
            <a:endParaRPr lang="en-US" dirty="0"/>
          </a:p>
          <a:p>
            <a:endParaRPr lang="en-US" dirty="0"/>
          </a:p>
          <a:p>
            <a:pPr fontAlgn="base"/>
            <a:r>
              <a:rPr lang="en-US" sz="1200" b="0" i="0" u="sng" strike="noStrike" kern="1200" dirty="0">
                <a:solidFill>
                  <a:schemeClr val="tx1"/>
                </a:solidFill>
                <a:effectLst/>
                <a:latin typeface="+mn-lt"/>
                <a:ea typeface="+mn-ea"/>
                <a:cs typeface="+mn-cs"/>
              </a:rPr>
              <a:t>Get promoted</a:t>
            </a:r>
          </a:p>
          <a:p>
            <a:pPr fontAlgn="base"/>
            <a:r>
              <a:rPr lang="en-US" sz="1200" b="0" i="0" u="none" strike="noStrike" kern="1200" dirty="0">
                <a:solidFill>
                  <a:schemeClr val="tx1"/>
                </a:solidFill>
                <a:effectLst/>
                <a:latin typeface="+mn-lt"/>
                <a:ea typeface="+mn-ea"/>
                <a:cs typeface="+mn-cs"/>
              </a:rPr>
              <a:t>If it’s true that time is money, then earning a Microsoft certification is certainly worth the time. On average, Microsoft certified technologists earn </a:t>
            </a:r>
            <a:r>
              <a:rPr lang="en-US" sz="1200" b="1" i="0" u="none" strike="noStrike" kern="1200" dirty="0">
                <a:solidFill>
                  <a:schemeClr val="tx1"/>
                </a:solidFill>
                <a:effectLst/>
                <a:latin typeface="+mn-lt"/>
                <a:ea typeface="+mn-ea"/>
                <a:cs typeface="+mn-cs"/>
              </a:rPr>
              <a:t>15%</a:t>
            </a:r>
            <a:r>
              <a:rPr lang="en-US" sz="1200" b="0" i="0" u="none" strike="noStrike" kern="1200" dirty="0">
                <a:solidFill>
                  <a:schemeClr val="tx1"/>
                </a:solidFill>
                <a:effectLst/>
                <a:latin typeface="+mn-lt"/>
                <a:ea typeface="+mn-ea"/>
                <a:cs typeface="+mn-cs"/>
              </a:rPr>
              <a:t> more than their uncertified peers. What’s more, certified employees are often entrusted with supervising their peers—putting you on the fast track for a promotion. Certified technologists advance their careers quickly, becoming qualified leaders on their teams and in their businesses.</a:t>
            </a:r>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3787706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IDC, 2015</a:t>
            </a:r>
          </a:p>
          <a:p>
            <a:r>
              <a:rPr lang="en-US" dirty="0"/>
              <a:t>Document #US40548215 © 2015 IDC.  www.idc.com   |   Page 6</a:t>
            </a:r>
          </a:p>
          <a:p>
            <a:endParaRPr lang="en-US" dirty="0"/>
          </a:p>
          <a:p>
            <a:r>
              <a:rPr lang="en-US" dirty="0"/>
              <a:t>Improved productivity and reduced cost. Certified employees reach full productivity faster after being hired. As a result, interviewed organizations have reduced costs associated with hiring new employees and minimized the disruption to operations caused by employee turnover. </a:t>
            </a:r>
          </a:p>
          <a:p>
            <a:r>
              <a:rPr lang="en-US" dirty="0"/>
              <a:t>» Employee advancement. Certified employees tend to have higher salaries, gain more responsibilities, and be promoted more quickly than employees without certification. The benefits accumulate over time and can result in different career trajectories for certified employees.</a:t>
            </a:r>
          </a:p>
          <a:p>
            <a:r>
              <a:rPr lang="en-US" dirty="0"/>
              <a:t>Certified employees reach full productivity faster after being hired.</a:t>
            </a:r>
          </a:p>
          <a:p>
            <a:r>
              <a:rPr lang="en-US" dirty="0"/>
              <a:t>Certified IT staff increase system resiliency.</a:t>
            </a:r>
          </a:p>
          <a:p>
            <a:r>
              <a:rPr lang="en-US" dirty="0"/>
              <a:t>IDC White Paper  |  IT Certifications: Shorter Road to Valuable Positions </a:t>
            </a:r>
          </a:p>
          <a:p>
            <a:r>
              <a:rPr lang="en-US" dirty="0"/>
              <a:t>» Improved IT staff efficiencies. Certified IT staff are more efficient and perform better than staff without certification. The time saved from this efficiency can be reinvested in IT innovation or otherwise supporting the business. In addition, certified staff are often relied on to handle more challenging issues and to supervise the work of noncertified IT staff members. </a:t>
            </a:r>
          </a:p>
          <a:p>
            <a:r>
              <a:rPr lang="en-US" dirty="0"/>
              <a:t>» Improved availability and risk mitigation. IT staff with the appropriate knowledge and skill are better able to identify problems and take the necessary steps to minimize recovery time. Therefore, certified IT staff increase system resiliency. </a:t>
            </a:r>
          </a:p>
          <a:p>
            <a:r>
              <a:rPr lang="en-US" dirty="0"/>
              <a:t>» Increased business agility. IT organizations are more agile and deliver </a:t>
            </a:r>
            <a:r>
              <a:rPr lang="en-US" dirty="0" err="1"/>
              <a:t>betterperforming</a:t>
            </a:r>
            <a:r>
              <a:rPr lang="en-US" dirty="0"/>
              <a:t> applications and services in less time by having certified staff members</a:t>
            </a:r>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268275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ips, Tricks and Field Experiences Value of Certification: I want to make sure you are on board with the value of certification. Certification can offer many advantages including: getting a raise at your next review, preparing you for new job opportunities, increasing the likelihood your resume will be seen by the hiring manager, increasing your self confidence, increase you image (how people see you) in your business and in your social circles, lines on your resume, most hiring managers consider certification as part of their hiring criteria, you get experience while preparing for certification,…. and the list could go on and on. The fact of the matter is there is never any shortage of reasons why we should get certified. I am glad you have read this far… Make the decision to read this article in it’s entirety, then GET STARTED!!! Write down the reasons you want to obtain certification and look at them daily. Recognize Accomplishments: Recognize your accomplishments not matter how small. Feel good about the fact that you finished reading this article and realize that having done so has gotten you one step closer to obtaining your MCP in the Azure Cloud. Each time you finish something, even if it is just watching a 20 min video or reading a blog post that is relevant to the exam, recognize to yourself that it is a positive step in the right direction. Reflect back on why you want to do this in the first place. Get Family On Board: Often having family (spouse, kids,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on board with your goals and objectives will help you stay the course. Engage them, offer the kids a night out at Dave &amp; Busters or an ice cream shop once you pass the exam. Show them your great study habits, maybe they will pick some of them up for their school studies. Excuses: Excuses for not getting certified are easy to come by… I do not have time, can’t concentrate because of the kids, tired when home from work, my boss does not care anyway, it will not help me in my job… and on and on… Give it up! Stop making excuses; stop procrastinating and make the decision to put your career in motion! Keep doing what you have been doing, and you will keep getting what you have always gotten. Value of time: Put a value on your time. What is your time worth? When I was a consultant billing out $250 an hour, that was the value I had on my time. Now it is often somewhat less. Now, during my busy season, I use a value of $100 per hour. During my slow season, when I am much less stressed and work fewer hours, I use a value of $50 per hour. During the summer, family time, the value shoots back up to $250. This may seam silly but it will help you prioritize your time. It will also help you justify purchases. When you consider purchasing a $40 book it will be a no brainer. Spending $40 will potentially save you dozens of hours of time because you will be studying exactly what you need to know, nothing more, nothing less. It may help you decide you should just be taking a class to get this behind you quickly. Even if you just use a value of $10 per hour, it is important to pick a value for your time! If you are broke and have a zero value for your time, fake it. Put a value on your time anyway it will help you prioritize. Even if it is only $1, is sitting in front of the tube watching a sitcom by yourself worth a dollar? Not usually, get up and pick up a book or watch a certification video instead! Dedicated Study time: Set time on the calendar every day or every week for preparation. Just like any other appointment, take the attitude that you have to be there at the scheduled time to perform the duties that are expected of you. Blocking the time on the calendar then sticking to it is likely the single best thing you can do to help you succeed. Figure out what works best for you. Maybe it is 30 mins every day at lunch? How about 45 hour every night from 8:15pm-9:00pm? Whatever time block works for you is great. Personally, I find the best time for me is in the morning before work. This is when I am the most alert and can absorb the most information. I tend to get into the office before others, so I leverage the quite time as my personal development time. Try it, go into the office 45 minutes early to see if that works for you. You have to stick with it though, if you do it once and get distracted, don’t give up, try it a few more times. If people bug you, put a sign up letting them know you will be available for questions at 9:00am or whatever time you actually start working. Personally, when I am cramming, I will often spend 3-4 hours a day. I suffer from insomnia so I have plenty of extra time in my day. I prioritize that time on preparation. Ultra Focus With Intent: When you sit down to study, don’t take it lightly. Stay hyper-focused on learning. Don’t let your mind wander. You are on a very important mission. That mission is to learn as rapidly as possible. If you do this you will find that you will retain far more information and you will be able to consume it much faster. Read Faster: You can read faster. Use your ultra focus, it is a must to achieve this one. While reading, move your finger across the page or the screen at a steady pace, do not stop your finger, make sure your eyes focus on the word over your finger. It is ok if you miss a word or two, DO NOT GO BACK! Then when you master that move your finger faster, then faster, then faster. Eventually, you will be able to do this without the use of your finger as an aid.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Study Smart: I have studied for many exams and hold more certifications than I can put in my signature block. What I have found in preparing for all the exams I have taken is “it is easy to study the wrong thing”. You know, you go to a blog post or a white paper to get information about an exam and they are telling you to read some 380 page document or white paper. That is bogus, don’t waste you time. I would guess that if you did read that document, you may learn more and maybe get one or two more questions right. But at what cost? Better to cover the materials on the test than, everything there is to know about a topic. More on this later!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Exam Reference Material: There is often plenty of exam reference material available. Often it is even free. I will point you to some of it later in this article. If you do not mind spending a bit of money, I strongly recommend you just start with an exam reference guide. This could be much faster than spending countless hours learning what may or may not be on the exam. I am personally not a fan of just studying exam questions. I do find them useful, I just find having more context around the topic helps me retain it. by all means, try the practice tests, they be </a:t>
            </a:r>
            <a:r>
              <a:rPr lang="en-US" sz="1200" kern="1200" dirty="0" err="1">
                <a:solidFill>
                  <a:schemeClr val="tx1"/>
                </a:solidFill>
                <a:effectLst/>
                <a:latin typeface="+mn-lt"/>
                <a:ea typeface="+mn-ea"/>
                <a:cs typeface="+mn-cs"/>
              </a:rPr>
              <a:t>be</a:t>
            </a:r>
            <a:r>
              <a:rPr lang="en-US" sz="1200" kern="1200" dirty="0">
                <a:solidFill>
                  <a:schemeClr val="tx1"/>
                </a:solidFill>
                <a:effectLst/>
                <a:latin typeface="+mn-lt"/>
                <a:ea typeface="+mn-ea"/>
                <a:cs typeface="+mn-cs"/>
              </a:rPr>
              <a:t> helpful for you. Practice &amp; Experience: There is no substitute for practice other than maybe experience! Use the technology you are trying to learn. If you have the ability to use the technology in your job, even better! Take advantage of these opportunities. If the opportunities are not there, go out of your way to make opportunities. Think about how you might be able to use this technology in your job, then justify to yourself why it is important to understand the technology for your job. Most employers want their staff IT staff to keep up with technology. They often also will accept that you do it partially on work time. Especially if they know you are spending a bunch of personal time learning. Even if it is just setting up a lab environment, getting your hands dirty will go a very long way to you understanding the technology. Exam Objectives: Most exams (and all of Microsoft exams) have well documented Exam Objectives or Skills Measured. Use the Exam Objectives as a “list of things to learn”. Print out the exam objectives and check them off one at a time, as you search that topic and spend time learning it. For the cloud exam, I have done much of the work for you, you can just print this blog post. Like writing a book: I am in the process of writing a book on a certification exam. When writing a book on a topic, you do not automatically know everything there is to know about that topic. You are generally not in a situation where you know it all and want to write a book to share your vast knowledge on the subject. On the contrary, you may know a bunch about the topic, but to teach people everything they need to know to pass the test, you have to learn much, much more. The way I do this is using the Exam Objectives. I research &amp; learn what I can on each exam objectives, teaching and writing as I go. One of the other things you do prior to writing a book is, take the test. Take the test: Take the test, get a feel for what is on it. Microsoft offers a “2nd shot” so you can take the test a second time for free. Once you have gone through all of the exam objectives one time quickly, take the test to see how you do. This will give you a report so you can see what you need to study. As you are studying you will remember exam questions so you will know the relevance. After you pass the exam, if you want to learn more, use the exam report to study the things you did not ace (if you are so inclined.) What Exam: Figuring out what is the best exam to take next is often a challenge. Really though, it does not matter. See https://www.microsoft.com/learning whichever exam you chose will likely prepare you for what is next in your professional life because getting certified will make you better at it! If you are a general or specialized IT person start with 70-533. If you are a developer, start with 70-532. If you are an architect or infrastructure designer start with 70-534. If you are not sure, start with 70-533. Whatever you do, just start NOW! Once you pass the first cloud exam, go back and study the next one. Then repeat until you have passed them all. By then you should have caught the bug (the high that comes with a great accomplishment) and you will pick another topic and repeat! - See more at: http://itproguru.com/expert/2015/03/azure-cloud-certification-jump-start-70-532-70-533-70-534-exam-preparation/#sthash.sDikFZa4.dpuf</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1706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0673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3093543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34.xml"/></Relationships>
</file>

<file path=ppt/slideLayouts/_rels/slideLayout7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34.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34.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5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09600" y="0"/>
            <a:ext cx="10972800" cy="822960"/>
          </a:xfrm>
        </p:spPr>
        <p:txBody>
          <a:bodyPr>
            <a:noAutofit/>
          </a:bodyPr>
          <a:lstStyle>
            <a:lvl1pPr algn="l">
              <a:lnSpc>
                <a:spcPct val="90000"/>
              </a:lnSpc>
              <a:defRPr sz="2800"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09600" y="6324601"/>
            <a:ext cx="3860800" cy="365125"/>
          </a:xfrm>
        </p:spPr>
        <p:txBody>
          <a:bodyPr/>
          <a:lstStyle>
            <a:lvl1pPr algn="l">
              <a:defRPr/>
            </a:lvl1pPr>
          </a:lstStyle>
          <a:p>
            <a:endParaRPr lang="en-US" dirty="0"/>
          </a:p>
        </p:txBody>
      </p:sp>
      <p:sp>
        <p:nvSpPr>
          <p:cNvPr id="9" name="Text Placeholder 4"/>
          <p:cNvSpPr>
            <a:spLocks noGrp="1"/>
          </p:cNvSpPr>
          <p:nvPr>
            <p:ph type="body" sz="quarter" idx="13"/>
          </p:nvPr>
        </p:nvSpPr>
        <p:spPr>
          <a:xfrm>
            <a:off x="609600" y="1066800"/>
            <a:ext cx="10972800" cy="1317284"/>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marL="1371600"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90675167"/>
      </p:ext>
    </p:extLst>
  </p:cSld>
  <p:clrMapOvr>
    <a:masterClrMapping/>
  </p:clrMapOvr>
  <p:hf hdr="0" ftr="0" dt="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5/2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48168045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23/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23/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23/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23/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23/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23/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23/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4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7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9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2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23/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23/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23/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5/2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2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5/2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5/2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5/23/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5/2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5/2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2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2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2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2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595282"/>
            <a:ext cx="7054357"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349252" y="2756542"/>
            <a:ext cx="4322233"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494654"/>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367182" y="1689742"/>
            <a:ext cx="11460253"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5</a:t>
            </a:r>
          </a:p>
          <a:p>
            <a:pPr lvl="0"/>
            <a:endParaRPr lang="en-US" dirty="0"/>
          </a:p>
        </p:txBody>
      </p:sp>
    </p:spTree>
    <p:extLst>
      <p:ext uri="{BB962C8B-B14F-4D97-AF65-F5344CB8AC3E}">
        <p14:creationId xmlns:p14="http://schemas.microsoft.com/office/powerpoint/2010/main" val="2654514835"/>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4254789264"/>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7570" y="-3"/>
            <a:ext cx="11893593"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917752026"/>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URL..</a:t>
            </a:r>
          </a:p>
        </p:txBody>
      </p:sp>
    </p:spTree>
    <p:extLst>
      <p:ext uri="{BB962C8B-B14F-4D97-AF65-F5344CB8AC3E}">
        <p14:creationId xmlns:p14="http://schemas.microsoft.com/office/powerpoint/2010/main" val="3762709342"/>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3880582541"/>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5980176"/>
      </p:ext>
    </p:extLst>
  </p:cSld>
  <p:clrMapOvr>
    <a:masterClrMapping/>
  </p:clrMapOvr>
  <p:transition>
    <p:fade/>
  </p:transition>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12192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372634" y="868681"/>
            <a:ext cx="11433116"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URL..</a:t>
            </a:r>
          </a:p>
        </p:txBody>
      </p:sp>
    </p:spTree>
    <p:extLst>
      <p:ext uri="{BB962C8B-B14F-4D97-AF65-F5344CB8AC3E}">
        <p14:creationId xmlns:p14="http://schemas.microsoft.com/office/powerpoint/2010/main" val="564276244"/>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24409" y="-4"/>
            <a:ext cx="11781452"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348250" y="2057400"/>
            <a:ext cx="11433116"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18611022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12192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22739" y="-3"/>
            <a:ext cx="11816861"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348250" y="2061882"/>
            <a:ext cx="11433116"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131860967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t>#70-533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6" y="117610"/>
            <a:ext cx="1903085"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3576687055"/>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964311" y="2"/>
            <a:ext cx="10015485"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514350" indent="-514350">
              <a:buFont typeface="+mj-lt"/>
              <a:buAutoNum type="arabicParenR"/>
              <a:defRPr sz="2700"/>
            </a:lvl1pPr>
            <a:lvl2pPr marL="800100" indent="-457200">
              <a:buFont typeface="+mj-lt"/>
              <a:buAutoNum type="alphaUcPeriod"/>
              <a:defRPr sz="2400"/>
            </a:lvl2pPr>
            <a:lvl3pPr marL="1200150" indent="-514350">
              <a:buFont typeface="Segoe UI" panose="020B0502040204020203" pitchFamily="34" charset="0"/>
              <a:buChar char="•"/>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URL..</a:t>
            </a:r>
          </a:p>
        </p:txBody>
      </p:sp>
    </p:spTree>
    <p:extLst>
      <p:ext uri="{BB962C8B-B14F-4D97-AF65-F5344CB8AC3E}">
        <p14:creationId xmlns:p14="http://schemas.microsoft.com/office/powerpoint/2010/main" val="2245305145"/>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201592" y="1098893"/>
            <a:ext cx="11778205" cy="2554215"/>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3EA49070-3FD9-4B27-9810-341ACA436456}"/>
              </a:ext>
            </a:extLst>
          </p:cNvPr>
          <p:cNvSpPr>
            <a:spLocks noGrp="1"/>
          </p:cNvSpPr>
          <p:nvPr>
            <p:ph type="body" sz="quarter" idx="11" hasCustomPrompt="1"/>
          </p:nvPr>
        </p:nvSpPr>
        <p:spPr>
          <a:xfrm>
            <a:off x="1055716" y="798022"/>
            <a:ext cx="10924081" cy="179531"/>
          </a:xfrm>
        </p:spPr>
        <p:txBody>
          <a:bodyPr/>
          <a:lstStyle>
            <a:lvl1pPr marL="0" indent="0" algn="r">
              <a:buFont typeface="Arial" panose="020B0604020202020204" pitchFamily="34" charset="0"/>
              <a:buNone/>
              <a:defRPr sz="1050">
                <a:solidFill>
                  <a:schemeClr val="bg1">
                    <a:lumMod val="95000"/>
                  </a:schemeClr>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3699136555"/>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1055078"/>
            <a:ext cx="11905861" cy="5470413"/>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9B4DEA64-361A-459F-AC62-F5ABFB0B7096}"/>
              </a:ext>
            </a:extLst>
          </p:cNvPr>
          <p:cNvSpPr>
            <a:spLocks noGrp="1"/>
          </p:cNvSpPr>
          <p:nvPr>
            <p:ph type="body" sz="quarter" idx="11" hasCustomPrompt="1"/>
          </p:nvPr>
        </p:nvSpPr>
        <p:spPr>
          <a:xfrm>
            <a:off x="273436" y="6550072"/>
            <a:ext cx="11433116" cy="267365"/>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1146174743"/>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871090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1"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529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791501185"/>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1018563"/>
            <a:ext cx="5065183" cy="509960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1018564"/>
            <a:ext cx="5067300" cy="509960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604783360"/>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4123" y="0"/>
            <a:ext cx="11418277"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086704"/>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1726466"/>
            <a:ext cx="5386917"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086704"/>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1726466"/>
            <a:ext cx="5389033"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chemeClr val="accent6"/>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3301816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1481633908"/>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4728307" y="0"/>
            <a:ext cx="7463692"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4712677"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328248" y="273050"/>
            <a:ext cx="4292437"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351693" y="1435101"/>
            <a:ext cx="426899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184954008"/>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116623"/>
            <a:ext cx="73152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782227392"/>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2647">
                <a:solidFill>
                  <a:srgbClr val="0070C0"/>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1038495626"/>
      </p:ext>
    </p:extLst>
  </p:cSld>
  <p:clrMapOvr>
    <a:masterClrMapping/>
  </p:clrMapOvr>
  <p:transition>
    <p:fade/>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1" y="1197323"/>
            <a:ext cx="11653521" cy="5109815"/>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446797293"/>
      </p:ext>
    </p:extLst>
  </p:cSld>
  <p:clrMapOvr>
    <a:masterClrMapping/>
  </p:clrMapOvr>
  <p:transition>
    <p:fade/>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4106045"/>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1002321"/>
            <a:ext cx="25908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611718" y="1002321"/>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5819847"/>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0"/>
            <a:ext cx="12191999" cy="1011115"/>
          </a:xfrm>
          <a:prstGeom prst="rect">
            <a:avLst/>
          </a:prstGeom>
          <a:solidFill>
            <a:srgbClr val="8DACD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71103" y="2617668"/>
            <a:ext cx="9649074" cy="2889997"/>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71103" y="893135"/>
            <a:ext cx="11371547" cy="1552353"/>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30101"/>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78.xml><?xml version="1.0" encoding="utf-8"?>
<p:sldLayout xmlns:a="http://schemas.openxmlformats.org/drawingml/2006/main" xmlns:r="http://schemas.openxmlformats.org/officeDocument/2006/relationships" xmlns:p="http://schemas.openxmlformats.org/presentationml/2006/main"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26295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79.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76950322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80.xml><?xml version="1.0" encoding="utf-8"?>
<p:sldLayout xmlns:a="http://schemas.openxmlformats.org/drawingml/2006/main" xmlns:r="http://schemas.openxmlformats.org/officeDocument/2006/relationships" xmlns:p="http://schemas.openxmlformats.org/presentationml/2006/main" userDrawn="1">
  <p:cSld name="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36"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grpSp>
        <p:nvGrpSpPr>
          <p:cNvPr id="6" name="Group 5"/>
          <p:cNvGrpSpPr/>
          <p:nvPr userDrawn="1"/>
        </p:nvGrpSpPr>
        <p:grpSpPr>
          <a:xfrm>
            <a:off x="7350981" y="470410"/>
            <a:ext cx="3735103"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dirty="0"/>
            </a:p>
          </p:txBody>
        </p:sp>
        <p:sp>
          <p:nvSpPr>
            <p:cNvPr id="1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Tree>
    <p:extLst>
      <p:ext uri="{BB962C8B-B14F-4D97-AF65-F5344CB8AC3E}">
        <p14:creationId xmlns:p14="http://schemas.microsoft.com/office/powerpoint/2010/main" val="386662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6"/>
          <p:cNvSpPr>
            <a:spLocks noGrp="1"/>
          </p:cNvSpPr>
          <p:nvPr>
            <p:ph type="title"/>
          </p:nvPr>
        </p:nvSpPr>
        <p:spPr>
          <a:xfrm>
            <a:off x="284238" y="295275"/>
            <a:ext cx="11623527" cy="780588"/>
          </a:xfrm>
        </p:spPr>
        <p:txBody>
          <a:bodyPr vert="horz" lIns="93278" tIns="46639" rIns="93278" bIns="46639" rtlCol="0" anchor="t" anchorCtr="0">
            <a:noAutofit/>
          </a:bodyPr>
          <a:lstStyle>
            <a:lvl1pPr>
              <a:defRPr lang="en-US" sz="3529" dirty="0">
                <a:solidFill>
                  <a:schemeClr val="accent1"/>
                </a:solidFill>
              </a:defRPr>
            </a:lvl1pPr>
          </a:lstStyle>
          <a:p>
            <a:pPr marL="0" lvl="0" indent="0">
              <a:lnSpc>
                <a:spcPct val="80000"/>
              </a:lnSpc>
              <a:buFont typeface="Arial" pitchFamily="34" charset="0"/>
            </a:pPr>
            <a:r>
              <a:rPr lang="en-US" dirty="0"/>
              <a:t>Click to edit Master title style</a:t>
            </a:r>
          </a:p>
        </p:txBody>
      </p:sp>
    </p:spTree>
    <p:extLst>
      <p:ext uri="{BB962C8B-B14F-4D97-AF65-F5344CB8AC3E}">
        <p14:creationId xmlns:p14="http://schemas.microsoft.com/office/powerpoint/2010/main" val="26966625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image" Target="../media/image2.png"/><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10.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38" Type="http://schemas.openxmlformats.org/officeDocument/2006/relationships/theme" Target="../theme/theme11.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slideLayout" Target="../slideLayouts/slideLayout273.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image" Target="../media/image51.emf"/><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oleObject" Target="../embeddings/oleObject4.bin"/><Relationship Id="rId2" Type="http://schemas.openxmlformats.org/officeDocument/2006/relationships/slideLayout" Target="../slideLayouts/slideLayout275.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tags" Target="../tags/tag4.xml"/><Relationship Id="rId5" Type="http://schemas.openxmlformats.org/officeDocument/2006/relationships/slideLayout" Target="../slideLayouts/slideLayout278.xml"/><Relationship Id="rId10" Type="http://schemas.openxmlformats.org/officeDocument/2006/relationships/vmlDrawing" Target="../drawings/vmlDrawing4.vml"/><Relationship Id="rId4" Type="http://schemas.openxmlformats.org/officeDocument/2006/relationships/slideLayout" Target="../slideLayouts/slideLayout277.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theme" Target="../theme/theme13.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3.xml"/><Relationship Id="rId13" Type="http://schemas.openxmlformats.org/officeDocument/2006/relationships/slideLayout" Target="../slideLayouts/slideLayout318.xml"/><Relationship Id="rId18" Type="http://schemas.openxmlformats.org/officeDocument/2006/relationships/slideLayout" Target="../slideLayouts/slideLayout323.xml"/><Relationship Id="rId26" Type="http://schemas.openxmlformats.org/officeDocument/2006/relationships/slideLayout" Target="../slideLayouts/slideLayout331.xml"/><Relationship Id="rId3" Type="http://schemas.openxmlformats.org/officeDocument/2006/relationships/slideLayout" Target="../slideLayouts/slideLayout308.xml"/><Relationship Id="rId21" Type="http://schemas.openxmlformats.org/officeDocument/2006/relationships/slideLayout" Target="../slideLayouts/slideLayout326.xml"/><Relationship Id="rId34" Type="http://schemas.openxmlformats.org/officeDocument/2006/relationships/oleObject" Target="../embeddings/oleObject8.bin"/><Relationship Id="rId7" Type="http://schemas.openxmlformats.org/officeDocument/2006/relationships/slideLayout" Target="../slideLayouts/slideLayout312.xml"/><Relationship Id="rId12" Type="http://schemas.openxmlformats.org/officeDocument/2006/relationships/slideLayout" Target="../slideLayouts/slideLayout317.xml"/><Relationship Id="rId17" Type="http://schemas.openxmlformats.org/officeDocument/2006/relationships/slideLayout" Target="../slideLayouts/slideLayout322.xml"/><Relationship Id="rId25" Type="http://schemas.openxmlformats.org/officeDocument/2006/relationships/slideLayout" Target="../slideLayouts/slideLayout330.xml"/><Relationship Id="rId33" Type="http://schemas.openxmlformats.org/officeDocument/2006/relationships/tags" Target="../tags/tag8.xml"/><Relationship Id="rId2" Type="http://schemas.openxmlformats.org/officeDocument/2006/relationships/slideLayout" Target="../slideLayouts/slideLayout307.xml"/><Relationship Id="rId16" Type="http://schemas.openxmlformats.org/officeDocument/2006/relationships/slideLayout" Target="../slideLayouts/slideLayout321.xml"/><Relationship Id="rId20" Type="http://schemas.openxmlformats.org/officeDocument/2006/relationships/slideLayout" Target="../slideLayouts/slideLayout325.xml"/><Relationship Id="rId29" Type="http://schemas.openxmlformats.org/officeDocument/2006/relationships/slideLayout" Target="../slideLayouts/slideLayout334.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1" Type="http://schemas.openxmlformats.org/officeDocument/2006/relationships/slideLayout" Target="../slideLayouts/slideLayout316.xml"/><Relationship Id="rId24" Type="http://schemas.openxmlformats.org/officeDocument/2006/relationships/slideLayout" Target="../slideLayouts/slideLayout329.xml"/><Relationship Id="rId32" Type="http://schemas.openxmlformats.org/officeDocument/2006/relationships/vmlDrawing" Target="../drawings/vmlDrawing8.vml"/><Relationship Id="rId5" Type="http://schemas.openxmlformats.org/officeDocument/2006/relationships/slideLayout" Target="../slideLayouts/slideLayout310.xml"/><Relationship Id="rId15" Type="http://schemas.openxmlformats.org/officeDocument/2006/relationships/slideLayout" Target="../slideLayouts/slideLayout320.xml"/><Relationship Id="rId23" Type="http://schemas.openxmlformats.org/officeDocument/2006/relationships/slideLayout" Target="../slideLayouts/slideLayout328.xml"/><Relationship Id="rId28" Type="http://schemas.openxmlformats.org/officeDocument/2006/relationships/slideLayout" Target="../slideLayouts/slideLayout333.xml"/><Relationship Id="rId10" Type="http://schemas.openxmlformats.org/officeDocument/2006/relationships/slideLayout" Target="../slideLayouts/slideLayout315.xml"/><Relationship Id="rId19" Type="http://schemas.openxmlformats.org/officeDocument/2006/relationships/slideLayout" Target="../slideLayouts/slideLayout324.xml"/><Relationship Id="rId31" Type="http://schemas.openxmlformats.org/officeDocument/2006/relationships/theme" Target="../theme/theme14.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4" Type="http://schemas.openxmlformats.org/officeDocument/2006/relationships/slideLayout" Target="../slideLayouts/slideLayout319.xml"/><Relationship Id="rId22" Type="http://schemas.openxmlformats.org/officeDocument/2006/relationships/slideLayout" Target="../slideLayouts/slideLayout327.xml"/><Relationship Id="rId27" Type="http://schemas.openxmlformats.org/officeDocument/2006/relationships/slideLayout" Target="../slideLayouts/slideLayout332.xml"/><Relationship Id="rId30" Type="http://schemas.openxmlformats.org/officeDocument/2006/relationships/slideLayout" Target="../slideLayouts/slideLayout335.xml"/><Relationship Id="rId35" Type="http://schemas.openxmlformats.org/officeDocument/2006/relationships/image" Target="../media/image5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slideLayout" Target="../slideLayouts/slideLayout348.xml"/><Relationship Id="rId18" Type="http://schemas.openxmlformats.org/officeDocument/2006/relationships/slideLayout" Target="../slideLayouts/slideLayout353.xml"/><Relationship Id="rId3" Type="http://schemas.openxmlformats.org/officeDocument/2006/relationships/slideLayout" Target="../slideLayouts/slideLayout338.xml"/><Relationship Id="rId21" Type="http://schemas.openxmlformats.org/officeDocument/2006/relationships/slideLayout" Target="../slideLayouts/slideLayout356.xml"/><Relationship Id="rId7" Type="http://schemas.openxmlformats.org/officeDocument/2006/relationships/slideLayout" Target="../slideLayouts/slideLayout342.xml"/><Relationship Id="rId12" Type="http://schemas.openxmlformats.org/officeDocument/2006/relationships/slideLayout" Target="../slideLayouts/slideLayout347.xml"/><Relationship Id="rId17" Type="http://schemas.openxmlformats.org/officeDocument/2006/relationships/slideLayout" Target="../slideLayouts/slideLayout352.xml"/><Relationship Id="rId2" Type="http://schemas.openxmlformats.org/officeDocument/2006/relationships/slideLayout" Target="../slideLayouts/slideLayout337.xml"/><Relationship Id="rId16" Type="http://schemas.openxmlformats.org/officeDocument/2006/relationships/slideLayout" Target="../slideLayouts/slideLayout351.xml"/><Relationship Id="rId20" Type="http://schemas.openxmlformats.org/officeDocument/2006/relationships/slideLayout" Target="../slideLayouts/slideLayout355.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24" Type="http://schemas.openxmlformats.org/officeDocument/2006/relationships/image" Target="../media/image2.png"/><Relationship Id="rId5" Type="http://schemas.openxmlformats.org/officeDocument/2006/relationships/slideLayout" Target="../slideLayouts/slideLayout340.xml"/><Relationship Id="rId15" Type="http://schemas.openxmlformats.org/officeDocument/2006/relationships/slideLayout" Target="../slideLayouts/slideLayout350.xml"/><Relationship Id="rId23" Type="http://schemas.openxmlformats.org/officeDocument/2006/relationships/theme" Target="../theme/theme15.xml"/><Relationship Id="rId10" Type="http://schemas.openxmlformats.org/officeDocument/2006/relationships/slideLayout" Target="../slideLayouts/slideLayout345.xml"/><Relationship Id="rId19" Type="http://schemas.openxmlformats.org/officeDocument/2006/relationships/slideLayout" Target="../slideLayouts/slideLayout35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slideLayout" Target="../slideLayouts/slideLayout349.xml"/><Relationship Id="rId22" Type="http://schemas.openxmlformats.org/officeDocument/2006/relationships/slideLayout" Target="../slideLayouts/slideLayout35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26" Type="http://schemas.openxmlformats.org/officeDocument/2006/relationships/slideLayout" Target="../slideLayouts/slideLayout383.xml"/><Relationship Id="rId39" Type="http://schemas.openxmlformats.org/officeDocument/2006/relationships/theme" Target="../theme/theme16.xml"/><Relationship Id="rId3" Type="http://schemas.openxmlformats.org/officeDocument/2006/relationships/slideLayout" Target="../slideLayouts/slideLayout360.xml"/><Relationship Id="rId21" Type="http://schemas.openxmlformats.org/officeDocument/2006/relationships/slideLayout" Target="../slideLayouts/slideLayout378.xml"/><Relationship Id="rId34" Type="http://schemas.openxmlformats.org/officeDocument/2006/relationships/slideLayout" Target="../slideLayouts/slideLayout391.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5" Type="http://schemas.openxmlformats.org/officeDocument/2006/relationships/slideLayout" Target="../slideLayouts/slideLayout382.xml"/><Relationship Id="rId33" Type="http://schemas.openxmlformats.org/officeDocument/2006/relationships/slideLayout" Target="../slideLayouts/slideLayout390.xml"/><Relationship Id="rId38" Type="http://schemas.openxmlformats.org/officeDocument/2006/relationships/slideLayout" Target="../slideLayouts/slideLayout395.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20" Type="http://schemas.openxmlformats.org/officeDocument/2006/relationships/slideLayout" Target="../slideLayouts/slideLayout377.xml"/><Relationship Id="rId29" Type="http://schemas.openxmlformats.org/officeDocument/2006/relationships/slideLayout" Target="../slideLayouts/slideLayout386.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24" Type="http://schemas.openxmlformats.org/officeDocument/2006/relationships/slideLayout" Target="../slideLayouts/slideLayout381.xml"/><Relationship Id="rId32" Type="http://schemas.openxmlformats.org/officeDocument/2006/relationships/slideLayout" Target="../slideLayouts/slideLayout389.xml"/><Relationship Id="rId37" Type="http://schemas.openxmlformats.org/officeDocument/2006/relationships/slideLayout" Target="../slideLayouts/slideLayout394.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23" Type="http://schemas.openxmlformats.org/officeDocument/2006/relationships/slideLayout" Target="../slideLayouts/slideLayout380.xml"/><Relationship Id="rId28" Type="http://schemas.openxmlformats.org/officeDocument/2006/relationships/slideLayout" Target="../slideLayouts/slideLayout385.xml"/><Relationship Id="rId36" Type="http://schemas.openxmlformats.org/officeDocument/2006/relationships/slideLayout" Target="../slideLayouts/slideLayout393.xml"/><Relationship Id="rId10" Type="http://schemas.openxmlformats.org/officeDocument/2006/relationships/slideLayout" Target="../slideLayouts/slideLayout367.xml"/><Relationship Id="rId19" Type="http://schemas.openxmlformats.org/officeDocument/2006/relationships/slideLayout" Target="../slideLayouts/slideLayout376.xml"/><Relationship Id="rId31" Type="http://schemas.openxmlformats.org/officeDocument/2006/relationships/slideLayout" Target="../slideLayouts/slideLayout388.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 Id="rId22" Type="http://schemas.openxmlformats.org/officeDocument/2006/relationships/slideLayout" Target="../slideLayouts/slideLayout379.xml"/><Relationship Id="rId27" Type="http://schemas.openxmlformats.org/officeDocument/2006/relationships/slideLayout" Target="../slideLayouts/slideLayout384.xml"/><Relationship Id="rId30" Type="http://schemas.openxmlformats.org/officeDocument/2006/relationships/slideLayout" Target="../slideLayouts/slideLayout387.xml"/><Relationship Id="rId35" Type="http://schemas.openxmlformats.org/officeDocument/2006/relationships/slideLayout" Target="../slideLayouts/slideLayout39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3" Type="http://schemas.openxmlformats.org/officeDocument/2006/relationships/slideLayout" Target="../slideLayouts/slideLayout398.xml"/><Relationship Id="rId21" Type="http://schemas.openxmlformats.org/officeDocument/2006/relationships/slideLayout" Target="../slideLayouts/slideLayout416.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5" Type="http://schemas.openxmlformats.org/officeDocument/2006/relationships/slideLayout" Target="../slideLayouts/slideLayout400.xml"/><Relationship Id="rId15" Type="http://schemas.openxmlformats.org/officeDocument/2006/relationships/slideLayout" Target="../slideLayouts/slideLayout410.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4.xml"/><Relationship Id="rId13" Type="http://schemas.openxmlformats.org/officeDocument/2006/relationships/slideLayout" Target="../slideLayouts/slideLayout429.xml"/><Relationship Id="rId18" Type="http://schemas.openxmlformats.org/officeDocument/2006/relationships/slideLayout" Target="../slideLayouts/slideLayout434.xml"/><Relationship Id="rId26" Type="http://schemas.openxmlformats.org/officeDocument/2006/relationships/slideLayout" Target="../slideLayouts/slideLayout442.xml"/><Relationship Id="rId3" Type="http://schemas.openxmlformats.org/officeDocument/2006/relationships/slideLayout" Target="../slideLayouts/slideLayout419.xml"/><Relationship Id="rId21" Type="http://schemas.openxmlformats.org/officeDocument/2006/relationships/slideLayout" Target="../slideLayouts/slideLayout437.xml"/><Relationship Id="rId7" Type="http://schemas.openxmlformats.org/officeDocument/2006/relationships/slideLayout" Target="../slideLayouts/slideLayout423.xml"/><Relationship Id="rId12" Type="http://schemas.openxmlformats.org/officeDocument/2006/relationships/slideLayout" Target="../slideLayouts/slideLayout428.xml"/><Relationship Id="rId17" Type="http://schemas.openxmlformats.org/officeDocument/2006/relationships/slideLayout" Target="../slideLayouts/slideLayout433.xml"/><Relationship Id="rId25" Type="http://schemas.openxmlformats.org/officeDocument/2006/relationships/slideLayout" Target="../slideLayouts/slideLayout441.xml"/><Relationship Id="rId2" Type="http://schemas.openxmlformats.org/officeDocument/2006/relationships/slideLayout" Target="../slideLayouts/slideLayout418.xml"/><Relationship Id="rId16" Type="http://schemas.openxmlformats.org/officeDocument/2006/relationships/slideLayout" Target="../slideLayouts/slideLayout432.xml"/><Relationship Id="rId20" Type="http://schemas.openxmlformats.org/officeDocument/2006/relationships/slideLayout" Target="../slideLayouts/slideLayout436.xml"/><Relationship Id="rId29" Type="http://schemas.openxmlformats.org/officeDocument/2006/relationships/theme" Target="../theme/theme18.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slideLayout" Target="../slideLayouts/slideLayout427.xml"/><Relationship Id="rId24" Type="http://schemas.openxmlformats.org/officeDocument/2006/relationships/slideLayout" Target="../slideLayouts/slideLayout440.xml"/><Relationship Id="rId5" Type="http://schemas.openxmlformats.org/officeDocument/2006/relationships/slideLayout" Target="../slideLayouts/slideLayout421.xml"/><Relationship Id="rId15" Type="http://schemas.openxmlformats.org/officeDocument/2006/relationships/slideLayout" Target="../slideLayouts/slideLayout431.xml"/><Relationship Id="rId23" Type="http://schemas.openxmlformats.org/officeDocument/2006/relationships/slideLayout" Target="../slideLayouts/slideLayout439.xml"/><Relationship Id="rId28" Type="http://schemas.openxmlformats.org/officeDocument/2006/relationships/slideLayout" Target="../slideLayouts/slideLayout444.xml"/><Relationship Id="rId10" Type="http://schemas.openxmlformats.org/officeDocument/2006/relationships/slideLayout" Target="../slideLayouts/slideLayout426.xml"/><Relationship Id="rId19" Type="http://schemas.openxmlformats.org/officeDocument/2006/relationships/slideLayout" Target="../slideLayouts/slideLayout435.xml"/><Relationship Id="rId4" Type="http://schemas.openxmlformats.org/officeDocument/2006/relationships/slideLayout" Target="../slideLayouts/slideLayout420.xml"/><Relationship Id="rId9" Type="http://schemas.openxmlformats.org/officeDocument/2006/relationships/slideLayout" Target="../slideLayouts/slideLayout425.xml"/><Relationship Id="rId14" Type="http://schemas.openxmlformats.org/officeDocument/2006/relationships/slideLayout" Target="../slideLayouts/slideLayout430.xml"/><Relationship Id="rId22" Type="http://schemas.openxmlformats.org/officeDocument/2006/relationships/slideLayout" Target="../slideLayouts/slideLayout438.xml"/><Relationship Id="rId27" Type="http://schemas.openxmlformats.org/officeDocument/2006/relationships/slideLayout" Target="../slideLayouts/slideLayout44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2.xml"/><Relationship Id="rId3" Type="http://schemas.openxmlformats.org/officeDocument/2006/relationships/slideLayout" Target="../slideLayouts/slideLayout447.xml"/><Relationship Id="rId7" Type="http://schemas.openxmlformats.org/officeDocument/2006/relationships/slideLayout" Target="../slideLayouts/slideLayout451.xml"/><Relationship Id="rId12" Type="http://schemas.openxmlformats.org/officeDocument/2006/relationships/theme" Target="../theme/theme19.xml"/><Relationship Id="rId2" Type="http://schemas.openxmlformats.org/officeDocument/2006/relationships/slideLayout" Target="../slideLayouts/slideLayout446.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5" Type="http://schemas.openxmlformats.org/officeDocument/2006/relationships/slideLayout" Target="../slideLayouts/slideLayout449.xml"/><Relationship Id="rId10" Type="http://schemas.openxmlformats.org/officeDocument/2006/relationships/slideLayout" Target="../slideLayouts/slideLayout454.xml"/><Relationship Id="rId4" Type="http://schemas.openxmlformats.org/officeDocument/2006/relationships/slideLayout" Target="../slideLayouts/slideLayout448.xml"/><Relationship Id="rId9" Type="http://schemas.openxmlformats.org/officeDocument/2006/relationships/slideLayout" Target="../slideLayouts/slideLayout45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34" Type="http://schemas.openxmlformats.org/officeDocument/2006/relationships/image" Target="../media/image2.png"/><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3.xml"/><Relationship Id="rId13" Type="http://schemas.openxmlformats.org/officeDocument/2006/relationships/slideLayout" Target="../slideLayouts/slideLayout468.xml"/><Relationship Id="rId18" Type="http://schemas.openxmlformats.org/officeDocument/2006/relationships/slideLayout" Target="../slideLayouts/slideLayout473.xml"/><Relationship Id="rId26" Type="http://schemas.openxmlformats.org/officeDocument/2006/relationships/slideLayout" Target="../slideLayouts/slideLayout481.xml"/><Relationship Id="rId3" Type="http://schemas.openxmlformats.org/officeDocument/2006/relationships/slideLayout" Target="../slideLayouts/slideLayout458.xml"/><Relationship Id="rId21" Type="http://schemas.openxmlformats.org/officeDocument/2006/relationships/slideLayout" Target="../slideLayouts/slideLayout476.xml"/><Relationship Id="rId7" Type="http://schemas.openxmlformats.org/officeDocument/2006/relationships/slideLayout" Target="../slideLayouts/slideLayout462.xml"/><Relationship Id="rId12" Type="http://schemas.openxmlformats.org/officeDocument/2006/relationships/slideLayout" Target="../slideLayouts/slideLayout467.xml"/><Relationship Id="rId17" Type="http://schemas.openxmlformats.org/officeDocument/2006/relationships/slideLayout" Target="../slideLayouts/slideLayout472.xml"/><Relationship Id="rId25" Type="http://schemas.openxmlformats.org/officeDocument/2006/relationships/slideLayout" Target="../slideLayouts/slideLayout480.xml"/><Relationship Id="rId2" Type="http://schemas.openxmlformats.org/officeDocument/2006/relationships/slideLayout" Target="../slideLayouts/slideLayout457.xml"/><Relationship Id="rId16" Type="http://schemas.openxmlformats.org/officeDocument/2006/relationships/slideLayout" Target="../slideLayouts/slideLayout471.xml"/><Relationship Id="rId20" Type="http://schemas.openxmlformats.org/officeDocument/2006/relationships/slideLayout" Target="../slideLayouts/slideLayout475.xml"/><Relationship Id="rId29" Type="http://schemas.openxmlformats.org/officeDocument/2006/relationships/theme" Target="../theme/theme20.xml"/><Relationship Id="rId1" Type="http://schemas.openxmlformats.org/officeDocument/2006/relationships/slideLayout" Target="../slideLayouts/slideLayout456.xml"/><Relationship Id="rId6" Type="http://schemas.openxmlformats.org/officeDocument/2006/relationships/slideLayout" Target="../slideLayouts/slideLayout461.xml"/><Relationship Id="rId11" Type="http://schemas.openxmlformats.org/officeDocument/2006/relationships/slideLayout" Target="../slideLayouts/slideLayout466.xml"/><Relationship Id="rId24" Type="http://schemas.openxmlformats.org/officeDocument/2006/relationships/slideLayout" Target="../slideLayouts/slideLayout479.xml"/><Relationship Id="rId5" Type="http://schemas.openxmlformats.org/officeDocument/2006/relationships/slideLayout" Target="../slideLayouts/slideLayout460.xml"/><Relationship Id="rId15" Type="http://schemas.openxmlformats.org/officeDocument/2006/relationships/slideLayout" Target="../slideLayouts/slideLayout470.xml"/><Relationship Id="rId23" Type="http://schemas.openxmlformats.org/officeDocument/2006/relationships/slideLayout" Target="../slideLayouts/slideLayout478.xml"/><Relationship Id="rId28" Type="http://schemas.openxmlformats.org/officeDocument/2006/relationships/slideLayout" Target="../slideLayouts/slideLayout483.xml"/><Relationship Id="rId10" Type="http://schemas.openxmlformats.org/officeDocument/2006/relationships/slideLayout" Target="../slideLayouts/slideLayout465.xml"/><Relationship Id="rId19" Type="http://schemas.openxmlformats.org/officeDocument/2006/relationships/slideLayout" Target="../slideLayouts/slideLayout474.xml"/><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slideLayout" Target="../slideLayouts/slideLayout469.xml"/><Relationship Id="rId22" Type="http://schemas.openxmlformats.org/officeDocument/2006/relationships/slideLayout" Target="../slideLayouts/slideLayout477.xml"/><Relationship Id="rId27" Type="http://schemas.openxmlformats.org/officeDocument/2006/relationships/slideLayout" Target="../slideLayouts/slideLayout482.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theme" Target="../theme/theme21.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slideLayout" Target="../slideLayouts/slideLayout519.xml"/><Relationship Id="rId18" Type="http://schemas.openxmlformats.org/officeDocument/2006/relationships/slideLayout" Target="../slideLayouts/slideLayout524.xml"/><Relationship Id="rId26" Type="http://schemas.openxmlformats.org/officeDocument/2006/relationships/theme" Target="../theme/theme22.xml"/><Relationship Id="rId3" Type="http://schemas.openxmlformats.org/officeDocument/2006/relationships/slideLayout" Target="../slideLayouts/slideLayout509.xml"/><Relationship Id="rId21" Type="http://schemas.openxmlformats.org/officeDocument/2006/relationships/slideLayout" Target="../slideLayouts/slideLayout527.xml"/><Relationship Id="rId7" Type="http://schemas.openxmlformats.org/officeDocument/2006/relationships/slideLayout" Target="../slideLayouts/slideLayout513.xml"/><Relationship Id="rId12" Type="http://schemas.openxmlformats.org/officeDocument/2006/relationships/slideLayout" Target="../slideLayouts/slideLayout518.xml"/><Relationship Id="rId17" Type="http://schemas.openxmlformats.org/officeDocument/2006/relationships/slideLayout" Target="../slideLayouts/slideLayout523.xml"/><Relationship Id="rId25" Type="http://schemas.openxmlformats.org/officeDocument/2006/relationships/slideLayout" Target="../slideLayouts/slideLayout531.xml"/><Relationship Id="rId2" Type="http://schemas.openxmlformats.org/officeDocument/2006/relationships/slideLayout" Target="../slideLayouts/slideLayout508.xml"/><Relationship Id="rId16" Type="http://schemas.openxmlformats.org/officeDocument/2006/relationships/slideLayout" Target="../slideLayouts/slideLayout522.xml"/><Relationship Id="rId20" Type="http://schemas.openxmlformats.org/officeDocument/2006/relationships/slideLayout" Target="../slideLayouts/slideLayout526.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slideLayout" Target="../slideLayouts/slideLayout517.xml"/><Relationship Id="rId24" Type="http://schemas.openxmlformats.org/officeDocument/2006/relationships/slideLayout" Target="../slideLayouts/slideLayout530.xml"/><Relationship Id="rId5" Type="http://schemas.openxmlformats.org/officeDocument/2006/relationships/slideLayout" Target="../slideLayouts/slideLayout511.xml"/><Relationship Id="rId15" Type="http://schemas.openxmlformats.org/officeDocument/2006/relationships/slideLayout" Target="../slideLayouts/slideLayout521.xml"/><Relationship Id="rId23" Type="http://schemas.openxmlformats.org/officeDocument/2006/relationships/slideLayout" Target="../slideLayouts/slideLayout529.xml"/><Relationship Id="rId10" Type="http://schemas.openxmlformats.org/officeDocument/2006/relationships/slideLayout" Target="../slideLayouts/slideLayout516.xml"/><Relationship Id="rId19" Type="http://schemas.openxmlformats.org/officeDocument/2006/relationships/slideLayout" Target="../slideLayouts/slideLayout525.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slideLayout" Target="../slideLayouts/slideLayout520.xml"/><Relationship Id="rId22" Type="http://schemas.openxmlformats.org/officeDocument/2006/relationships/slideLayout" Target="../slideLayouts/slideLayout52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9.xml"/><Relationship Id="rId13" Type="http://schemas.openxmlformats.org/officeDocument/2006/relationships/slideLayout" Target="../slideLayouts/slideLayout544.xml"/><Relationship Id="rId18" Type="http://schemas.openxmlformats.org/officeDocument/2006/relationships/slideLayout" Target="../slideLayouts/slideLayout549.xml"/><Relationship Id="rId26" Type="http://schemas.openxmlformats.org/officeDocument/2006/relationships/image" Target="../media/image2.png"/><Relationship Id="rId3" Type="http://schemas.openxmlformats.org/officeDocument/2006/relationships/slideLayout" Target="../slideLayouts/slideLayout534.xml"/><Relationship Id="rId21" Type="http://schemas.openxmlformats.org/officeDocument/2006/relationships/slideLayout" Target="../slideLayouts/slideLayout552.xml"/><Relationship Id="rId7" Type="http://schemas.openxmlformats.org/officeDocument/2006/relationships/slideLayout" Target="../slideLayouts/slideLayout538.xml"/><Relationship Id="rId12" Type="http://schemas.openxmlformats.org/officeDocument/2006/relationships/slideLayout" Target="../slideLayouts/slideLayout543.xml"/><Relationship Id="rId17" Type="http://schemas.openxmlformats.org/officeDocument/2006/relationships/slideLayout" Target="../slideLayouts/slideLayout548.xml"/><Relationship Id="rId25" Type="http://schemas.openxmlformats.org/officeDocument/2006/relationships/theme" Target="../theme/theme23.xml"/><Relationship Id="rId2" Type="http://schemas.openxmlformats.org/officeDocument/2006/relationships/slideLayout" Target="../slideLayouts/slideLayout533.xml"/><Relationship Id="rId16" Type="http://schemas.openxmlformats.org/officeDocument/2006/relationships/slideLayout" Target="../slideLayouts/slideLayout547.xml"/><Relationship Id="rId20" Type="http://schemas.openxmlformats.org/officeDocument/2006/relationships/slideLayout" Target="../slideLayouts/slideLayout551.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slideLayout" Target="../slideLayouts/slideLayout542.xml"/><Relationship Id="rId24" Type="http://schemas.openxmlformats.org/officeDocument/2006/relationships/slideLayout" Target="../slideLayouts/slideLayout555.xml"/><Relationship Id="rId5" Type="http://schemas.openxmlformats.org/officeDocument/2006/relationships/slideLayout" Target="../slideLayouts/slideLayout536.xml"/><Relationship Id="rId15" Type="http://schemas.openxmlformats.org/officeDocument/2006/relationships/slideLayout" Target="../slideLayouts/slideLayout546.xml"/><Relationship Id="rId23" Type="http://schemas.openxmlformats.org/officeDocument/2006/relationships/slideLayout" Target="../slideLayouts/slideLayout554.xml"/><Relationship Id="rId10" Type="http://schemas.openxmlformats.org/officeDocument/2006/relationships/slideLayout" Target="../slideLayouts/slideLayout541.xml"/><Relationship Id="rId19" Type="http://schemas.openxmlformats.org/officeDocument/2006/relationships/slideLayout" Target="../slideLayouts/slideLayout550.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slideLayout" Target="../slideLayouts/slideLayout545.xml"/><Relationship Id="rId22" Type="http://schemas.openxmlformats.org/officeDocument/2006/relationships/slideLayout" Target="../slideLayouts/slideLayout55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3.xml"/><Relationship Id="rId13" Type="http://schemas.openxmlformats.org/officeDocument/2006/relationships/slideLayout" Target="../slideLayouts/slideLayout568.xml"/><Relationship Id="rId18" Type="http://schemas.openxmlformats.org/officeDocument/2006/relationships/slideLayout" Target="../slideLayouts/slideLayout573.xml"/><Relationship Id="rId26" Type="http://schemas.openxmlformats.org/officeDocument/2006/relationships/theme" Target="../theme/theme24.xml"/><Relationship Id="rId3" Type="http://schemas.openxmlformats.org/officeDocument/2006/relationships/slideLayout" Target="../slideLayouts/slideLayout558.xml"/><Relationship Id="rId21" Type="http://schemas.openxmlformats.org/officeDocument/2006/relationships/slideLayout" Target="../slideLayouts/slideLayout576.xml"/><Relationship Id="rId7" Type="http://schemas.openxmlformats.org/officeDocument/2006/relationships/slideLayout" Target="../slideLayouts/slideLayout562.xml"/><Relationship Id="rId12" Type="http://schemas.openxmlformats.org/officeDocument/2006/relationships/slideLayout" Target="../slideLayouts/slideLayout567.xml"/><Relationship Id="rId17" Type="http://schemas.openxmlformats.org/officeDocument/2006/relationships/slideLayout" Target="../slideLayouts/slideLayout572.xml"/><Relationship Id="rId25" Type="http://schemas.openxmlformats.org/officeDocument/2006/relationships/slideLayout" Target="../slideLayouts/slideLayout580.xml"/><Relationship Id="rId2" Type="http://schemas.openxmlformats.org/officeDocument/2006/relationships/slideLayout" Target="../slideLayouts/slideLayout557.xml"/><Relationship Id="rId16" Type="http://schemas.openxmlformats.org/officeDocument/2006/relationships/slideLayout" Target="../slideLayouts/slideLayout571.xml"/><Relationship Id="rId20" Type="http://schemas.openxmlformats.org/officeDocument/2006/relationships/slideLayout" Target="../slideLayouts/slideLayout575.xml"/><Relationship Id="rId1" Type="http://schemas.openxmlformats.org/officeDocument/2006/relationships/slideLayout" Target="../slideLayouts/slideLayout556.xml"/><Relationship Id="rId6" Type="http://schemas.openxmlformats.org/officeDocument/2006/relationships/slideLayout" Target="../slideLayouts/slideLayout561.xml"/><Relationship Id="rId11" Type="http://schemas.openxmlformats.org/officeDocument/2006/relationships/slideLayout" Target="../slideLayouts/slideLayout566.xml"/><Relationship Id="rId24" Type="http://schemas.openxmlformats.org/officeDocument/2006/relationships/slideLayout" Target="../slideLayouts/slideLayout579.xml"/><Relationship Id="rId5" Type="http://schemas.openxmlformats.org/officeDocument/2006/relationships/slideLayout" Target="../slideLayouts/slideLayout560.xml"/><Relationship Id="rId15" Type="http://schemas.openxmlformats.org/officeDocument/2006/relationships/slideLayout" Target="../slideLayouts/slideLayout570.xml"/><Relationship Id="rId23" Type="http://schemas.openxmlformats.org/officeDocument/2006/relationships/slideLayout" Target="../slideLayouts/slideLayout578.xml"/><Relationship Id="rId10" Type="http://schemas.openxmlformats.org/officeDocument/2006/relationships/slideLayout" Target="../slideLayouts/slideLayout565.xml"/><Relationship Id="rId19" Type="http://schemas.openxmlformats.org/officeDocument/2006/relationships/slideLayout" Target="../slideLayouts/slideLayout574.xml"/><Relationship Id="rId4" Type="http://schemas.openxmlformats.org/officeDocument/2006/relationships/slideLayout" Target="../slideLayouts/slideLayout559.xml"/><Relationship Id="rId9" Type="http://schemas.openxmlformats.org/officeDocument/2006/relationships/slideLayout" Target="../slideLayouts/slideLayout564.xml"/><Relationship Id="rId14" Type="http://schemas.openxmlformats.org/officeDocument/2006/relationships/slideLayout" Target="../slideLayouts/slideLayout569.xml"/><Relationship Id="rId22" Type="http://schemas.openxmlformats.org/officeDocument/2006/relationships/slideLayout" Target="../slideLayouts/slideLayout577.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8.xml"/><Relationship Id="rId13" Type="http://schemas.openxmlformats.org/officeDocument/2006/relationships/slideLayout" Target="../slideLayouts/slideLayout593.xml"/><Relationship Id="rId18" Type="http://schemas.openxmlformats.org/officeDocument/2006/relationships/slideLayout" Target="../slideLayouts/slideLayout598.xml"/><Relationship Id="rId3" Type="http://schemas.openxmlformats.org/officeDocument/2006/relationships/slideLayout" Target="../slideLayouts/slideLayout583.xml"/><Relationship Id="rId7" Type="http://schemas.openxmlformats.org/officeDocument/2006/relationships/slideLayout" Target="../slideLayouts/slideLayout587.xml"/><Relationship Id="rId12" Type="http://schemas.openxmlformats.org/officeDocument/2006/relationships/slideLayout" Target="../slideLayouts/slideLayout592.xml"/><Relationship Id="rId17" Type="http://schemas.openxmlformats.org/officeDocument/2006/relationships/slideLayout" Target="../slideLayouts/slideLayout597.xml"/><Relationship Id="rId2" Type="http://schemas.openxmlformats.org/officeDocument/2006/relationships/slideLayout" Target="../slideLayouts/slideLayout582.xml"/><Relationship Id="rId16" Type="http://schemas.openxmlformats.org/officeDocument/2006/relationships/slideLayout" Target="../slideLayouts/slideLayout596.xml"/><Relationship Id="rId20" Type="http://schemas.openxmlformats.org/officeDocument/2006/relationships/theme" Target="../theme/theme25.xml"/><Relationship Id="rId1" Type="http://schemas.openxmlformats.org/officeDocument/2006/relationships/slideLayout" Target="../slideLayouts/slideLayout581.xml"/><Relationship Id="rId6" Type="http://schemas.openxmlformats.org/officeDocument/2006/relationships/slideLayout" Target="../slideLayouts/slideLayout586.xml"/><Relationship Id="rId11" Type="http://schemas.openxmlformats.org/officeDocument/2006/relationships/slideLayout" Target="../slideLayouts/slideLayout591.xml"/><Relationship Id="rId5" Type="http://schemas.openxmlformats.org/officeDocument/2006/relationships/slideLayout" Target="../slideLayouts/slideLayout585.xml"/><Relationship Id="rId15" Type="http://schemas.openxmlformats.org/officeDocument/2006/relationships/slideLayout" Target="../slideLayouts/slideLayout595.xml"/><Relationship Id="rId10" Type="http://schemas.openxmlformats.org/officeDocument/2006/relationships/slideLayout" Target="../slideLayouts/slideLayout590.xml"/><Relationship Id="rId19" Type="http://schemas.openxmlformats.org/officeDocument/2006/relationships/slideLayout" Target="../slideLayouts/slideLayout599.xml"/><Relationship Id="rId4" Type="http://schemas.openxmlformats.org/officeDocument/2006/relationships/slideLayout" Target="../slideLayouts/slideLayout584.xml"/><Relationship Id="rId9" Type="http://schemas.openxmlformats.org/officeDocument/2006/relationships/slideLayout" Target="../slideLayouts/slideLayout589.xml"/><Relationship Id="rId14" Type="http://schemas.openxmlformats.org/officeDocument/2006/relationships/slideLayout" Target="../slideLayouts/slideLayout594.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7.xml"/><Relationship Id="rId13" Type="http://schemas.openxmlformats.org/officeDocument/2006/relationships/slideLayout" Target="../slideLayouts/slideLayout612.xml"/><Relationship Id="rId18" Type="http://schemas.openxmlformats.org/officeDocument/2006/relationships/slideLayout" Target="../slideLayouts/slideLayout617.xml"/><Relationship Id="rId3" Type="http://schemas.openxmlformats.org/officeDocument/2006/relationships/slideLayout" Target="../slideLayouts/slideLayout602.xml"/><Relationship Id="rId7" Type="http://schemas.openxmlformats.org/officeDocument/2006/relationships/slideLayout" Target="../slideLayouts/slideLayout606.xml"/><Relationship Id="rId12" Type="http://schemas.openxmlformats.org/officeDocument/2006/relationships/slideLayout" Target="../slideLayouts/slideLayout611.xml"/><Relationship Id="rId17" Type="http://schemas.openxmlformats.org/officeDocument/2006/relationships/slideLayout" Target="../slideLayouts/slideLayout616.xml"/><Relationship Id="rId2" Type="http://schemas.openxmlformats.org/officeDocument/2006/relationships/slideLayout" Target="../slideLayouts/slideLayout601.xml"/><Relationship Id="rId16" Type="http://schemas.openxmlformats.org/officeDocument/2006/relationships/slideLayout" Target="../slideLayouts/slideLayout615.xml"/><Relationship Id="rId20" Type="http://schemas.openxmlformats.org/officeDocument/2006/relationships/theme" Target="../theme/theme26.xml"/><Relationship Id="rId1" Type="http://schemas.openxmlformats.org/officeDocument/2006/relationships/slideLayout" Target="../slideLayouts/slideLayout600.xml"/><Relationship Id="rId6" Type="http://schemas.openxmlformats.org/officeDocument/2006/relationships/slideLayout" Target="../slideLayouts/slideLayout605.xml"/><Relationship Id="rId11" Type="http://schemas.openxmlformats.org/officeDocument/2006/relationships/slideLayout" Target="../slideLayouts/slideLayout610.xml"/><Relationship Id="rId5" Type="http://schemas.openxmlformats.org/officeDocument/2006/relationships/slideLayout" Target="../slideLayouts/slideLayout604.xml"/><Relationship Id="rId15" Type="http://schemas.openxmlformats.org/officeDocument/2006/relationships/slideLayout" Target="../slideLayouts/slideLayout614.xml"/><Relationship Id="rId10" Type="http://schemas.openxmlformats.org/officeDocument/2006/relationships/slideLayout" Target="../slideLayouts/slideLayout609.xml"/><Relationship Id="rId19" Type="http://schemas.openxmlformats.org/officeDocument/2006/relationships/slideLayout" Target="../slideLayouts/slideLayout618.xml"/><Relationship Id="rId4" Type="http://schemas.openxmlformats.org/officeDocument/2006/relationships/slideLayout" Target="../slideLayouts/slideLayout603.xml"/><Relationship Id="rId9" Type="http://schemas.openxmlformats.org/officeDocument/2006/relationships/slideLayout" Target="../slideLayouts/slideLayout608.xml"/><Relationship Id="rId14" Type="http://schemas.openxmlformats.org/officeDocument/2006/relationships/slideLayout" Target="../slideLayouts/slideLayout61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6.xml"/><Relationship Id="rId13" Type="http://schemas.openxmlformats.org/officeDocument/2006/relationships/slideLayout" Target="../slideLayouts/slideLayout631.xml"/><Relationship Id="rId18" Type="http://schemas.openxmlformats.org/officeDocument/2006/relationships/slideLayout" Target="../slideLayouts/slideLayout636.xml"/><Relationship Id="rId26" Type="http://schemas.openxmlformats.org/officeDocument/2006/relationships/slideLayout" Target="../slideLayouts/slideLayout644.xml"/><Relationship Id="rId3" Type="http://schemas.openxmlformats.org/officeDocument/2006/relationships/slideLayout" Target="../slideLayouts/slideLayout621.xml"/><Relationship Id="rId21" Type="http://schemas.openxmlformats.org/officeDocument/2006/relationships/slideLayout" Target="../slideLayouts/slideLayout639.xml"/><Relationship Id="rId34" Type="http://schemas.openxmlformats.org/officeDocument/2006/relationships/image" Target="../media/image74.png"/><Relationship Id="rId7" Type="http://schemas.openxmlformats.org/officeDocument/2006/relationships/slideLayout" Target="../slideLayouts/slideLayout625.xml"/><Relationship Id="rId12" Type="http://schemas.openxmlformats.org/officeDocument/2006/relationships/slideLayout" Target="../slideLayouts/slideLayout630.xml"/><Relationship Id="rId17" Type="http://schemas.openxmlformats.org/officeDocument/2006/relationships/slideLayout" Target="../slideLayouts/slideLayout635.xml"/><Relationship Id="rId25" Type="http://schemas.openxmlformats.org/officeDocument/2006/relationships/slideLayout" Target="../slideLayouts/slideLayout643.xml"/><Relationship Id="rId33" Type="http://schemas.openxmlformats.org/officeDocument/2006/relationships/theme" Target="../theme/theme27.xml"/><Relationship Id="rId2" Type="http://schemas.openxmlformats.org/officeDocument/2006/relationships/slideLayout" Target="../slideLayouts/slideLayout620.xml"/><Relationship Id="rId16" Type="http://schemas.openxmlformats.org/officeDocument/2006/relationships/slideLayout" Target="../slideLayouts/slideLayout634.xml"/><Relationship Id="rId20" Type="http://schemas.openxmlformats.org/officeDocument/2006/relationships/slideLayout" Target="../slideLayouts/slideLayout638.xml"/><Relationship Id="rId29" Type="http://schemas.openxmlformats.org/officeDocument/2006/relationships/slideLayout" Target="../slideLayouts/slideLayout647.xml"/><Relationship Id="rId1" Type="http://schemas.openxmlformats.org/officeDocument/2006/relationships/slideLayout" Target="../slideLayouts/slideLayout619.xml"/><Relationship Id="rId6" Type="http://schemas.openxmlformats.org/officeDocument/2006/relationships/slideLayout" Target="../slideLayouts/slideLayout624.xml"/><Relationship Id="rId11" Type="http://schemas.openxmlformats.org/officeDocument/2006/relationships/slideLayout" Target="../slideLayouts/slideLayout629.xml"/><Relationship Id="rId24" Type="http://schemas.openxmlformats.org/officeDocument/2006/relationships/slideLayout" Target="../slideLayouts/slideLayout642.xml"/><Relationship Id="rId32" Type="http://schemas.openxmlformats.org/officeDocument/2006/relationships/slideLayout" Target="../slideLayouts/slideLayout650.xml"/><Relationship Id="rId5" Type="http://schemas.openxmlformats.org/officeDocument/2006/relationships/slideLayout" Target="../slideLayouts/slideLayout623.xml"/><Relationship Id="rId15" Type="http://schemas.openxmlformats.org/officeDocument/2006/relationships/slideLayout" Target="../slideLayouts/slideLayout633.xml"/><Relationship Id="rId23" Type="http://schemas.openxmlformats.org/officeDocument/2006/relationships/slideLayout" Target="../slideLayouts/slideLayout641.xml"/><Relationship Id="rId28" Type="http://schemas.openxmlformats.org/officeDocument/2006/relationships/slideLayout" Target="../slideLayouts/slideLayout646.xml"/><Relationship Id="rId10" Type="http://schemas.openxmlformats.org/officeDocument/2006/relationships/slideLayout" Target="../slideLayouts/slideLayout628.xml"/><Relationship Id="rId19" Type="http://schemas.openxmlformats.org/officeDocument/2006/relationships/slideLayout" Target="../slideLayouts/slideLayout637.xml"/><Relationship Id="rId31" Type="http://schemas.openxmlformats.org/officeDocument/2006/relationships/slideLayout" Target="../slideLayouts/slideLayout649.xml"/><Relationship Id="rId4" Type="http://schemas.openxmlformats.org/officeDocument/2006/relationships/slideLayout" Target="../slideLayouts/slideLayout622.xml"/><Relationship Id="rId9" Type="http://schemas.openxmlformats.org/officeDocument/2006/relationships/slideLayout" Target="../slideLayouts/slideLayout627.xml"/><Relationship Id="rId14" Type="http://schemas.openxmlformats.org/officeDocument/2006/relationships/slideLayout" Target="../slideLayouts/slideLayout632.xml"/><Relationship Id="rId22" Type="http://schemas.openxmlformats.org/officeDocument/2006/relationships/slideLayout" Target="../slideLayouts/slideLayout640.xml"/><Relationship Id="rId27" Type="http://schemas.openxmlformats.org/officeDocument/2006/relationships/slideLayout" Target="../slideLayouts/slideLayout645.xml"/><Relationship Id="rId30"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8.xml"/><Relationship Id="rId13" Type="http://schemas.openxmlformats.org/officeDocument/2006/relationships/slideLayout" Target="../slideLayouts/slideLayout663.xml"/><Relationship Id="rId18" Type="http://schemas.openxmlformats.org/officeDocument/2006/relationships/slideLayout" Target="../slideLayouts/slideLayout668.xml"/><Relationship Id="rId3" Type="http://schemas.openxmlformats.org/officeDocument/2006/relationships/slideLayout" Target="../slideLayouts/slideLayout653.xml"/><Relationship Id="rId7" Type="http://schemas.openxmlformats.org/officeDocument/2006/relationships/slideLayout" Target="../slideLayouts/slideLayout657.xml"/><Relationship Id="rId12" Type="http://schemas.openxmlformats.org/officeDocument/2006/relationships/slideLayout" Target="../slideLayouts/slideLayout662.xml"/><Relationship Id="rId17" Type="http://schemas.openxmlformats.org/officeDocument/2006/relationships/slideLayout" Target="../slideLayouts/slideLayout667.xml"/><Relationship Id="rId2" Type="http://schemas.openxmlformats.org/officeDocument/2006/relationships/slideLayout" Target="../slideLayouts/slideLayout652.xml"/><Relationship Id="rId16" Type="http://schemas.openxmlformats.org/officeDocument/2006/relationships/slideLayout" Target="../slideLayouts/slideLayout666.xml"/><Relationship Id="rId1" Type="http://schemas.openxmlformats.org/officeDocument/2006/relationships/slideLayout" Target="../slideLayouts/slideLayout651.xml"/><Relationship Id="rId6" Type="http://schemas.openxmlformats.org/officeDocument/2006/relationships/slideLayout" Target="../slideLayouts/slideLayout656.xml"/><Relationship Id="rId11" Type="http://schemas.openxmlformats.org/officeDocument/2006/relationships/slideLayout" Target="../slideLayouts/slideLayout661.xml"/><Relationship Id="rId5" Type="http://schemas.openxmlformats.org/officeDocument/2006/relationships/slideLayout" Target="../slideLayouts/slideLayout655.xml"/><Relationship Id="rId15" Type="http://schemas.openxmlformats.org/officeDocument/2006/relationships/slideLayout" Target="../slideLayouts/slideLayout665.xml"/><Relationship Id="rId10" Type="http://schemas.openxmlformats.org/officeDocument/2006/relationships/slideLayout" Target="../slideLayouts/slideLayout660.xml"/><Relationship Id="rId19" Type="http://schemas.openxmlformats.org/officeDocument/2006/relationships/theme" Target="../theme/theme28.xml"/><Relationship Id="rId4" Type="http://schemas.openxmlformats.org/officeDocument/2006/relationships/slideLayout" Target="../slideLayouts/slideLayout654.xml"/><Relationship Id="rId9" Type="http://schemas.openxmlformats.org/officeDocument/2006/relationships/slideLayout" Target="../slideLayouts/slideLayout659.xml"/><Relationship Id="rId14" Type="http://schemas.openxmlformats.org/officeDocument/2006/relationships/slideLayout" Target="../slideLayouts/slideLayout664.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6.xml"/><Relationship Id="rId13" Type="http://schemas.openxmlformats.org/officeDocument/2006/relationships/slideLayout" Target="../slideLayouts/slideLayout681.xml"/><Relationship Id="rId18" Type="http://schemas.openxmlformats.org/officeDocument/2006/relationships/slideLayout" Target="../slideLayouts/slideLayout686.xml"/><Relationship Id="rId3" Type="http://schemas.openxmlformats.org/officeDocument/2006/relationships/slideLayout" Target="../slideLayouts/slideLayout671.xml"/><Relationship Id="rId21" Type="http://schemas.openxmlformats.org/officeDocument/2006/relationships/theme" Target="../theme/theme29.xml"/><Relationship Id="rId7" Type="http://schemas.openxmlformats.org/officeDocument/2006/relationships/slideLayout" Target="../slideLayouts/slideLayout675.xml"/><Relationship Id="rId12" Type="http://schemas.openxmlformats.org/officeDocument/2006/relationships/slideLayout" Target="../slideLayouts/slideLayout680.xml"/><Relationship Id="rId17" Type="http://schemas.openxmlformats.org/officeDocument/2006/relationships/slideLayout" Target="../slideLayouts/slideLayout685.xml"/><Relationship Id="rId2" Type="http://schemas.openxmlformats.org/officeDocument/2006/relationships/slideLayout" Target="../slideLayouts/slideLayout670.xml"/><Relationship Id="rId16" Type="http://schemas.openxmlformats.org/officeDocument/2006/relationships/slideLayout" Target="../slideLayouts/slideLayout684.xml"/><Relationship Id="rId20" Type="http://schemas.openxmlformats.org/officeDocument/2006/relationships/slideLayout" Target="../slideLayouts/slideLayout688.xml"/><Relationship Id="rId1" Type="http://schemas.openxmlformats.org/officeDocument/2006/relationships/slideLayout" Target="../slideLayouts/slideLayout669.xml"/><Relationship Id="rId6" Type="http://schemas.openxmlformats.org/officeDocument/2006/relationships/slideLayout" Target="../slideLayouts/slideLayout674.xml"/><Relationship Id="rId11" Type="http://schemas.openxmlformats.org/officeDocument/2006/relationships/slideLayout" Target="../slideLayouts/slideLayout679.xml"/><Relationship Id="rId5" Type="http://schemas.openxmlformats.org/officeDocument/2006/relationships/slideLayout" Target="../slideLayouts/slideLayout673.xml"/><Relationship Id="rId15" Type="http://schemas.openxmlformats.org/officeDocument/2006/relationships/slideLayout" Target="../slideLayouts/slideLayout683.xml"/><Relationship Id="rId10" Type="http://schemas.openxmlformats.org/officeDocument/2006/relationships/slideLayout" Target="../slideLayouts/slideLayout678.xml"/><Relationship Id="rId19" Type="http://schemas.openxmlformats.org/officeDocument/2006/relationships/slideLayout" Target="../slideLayouts/slideLayout687.xml"/><Relationship Id="rId4" Type="http://schemas.openxmlformats.org/officeDocument/2006/relationships/slideLayout" Target="../slideLayouts/slideLayout672.xml"/><Relationship Id="rId9" Type="http://schemas.openxmlformats.org/officeDocument/2006/relationships/slideLayout" Target="../slideLayouts/slideLayout677.xml"/><Relationship Id="rId14" Type="http://schemas.openxmlformats.org/officeDocument/2006/relationships/slideLayout" Target="../slideLayouts/slideLayout682.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image" Target="../media/image2.png"/><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heme" Target="../theme/theme3.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6.xml"/><Relationship Id="rId13" Type="http://schemas.openxmlformats.org/officeDocument/2006/relationships/oleObject" Target="../embeddings/oleObject23.bin"/><Relationship Id="rId3" Type="http://schemas.openxmlformats.org/officeDocument/2006/relationships/slideLayout" Target="../slideLayouts/slideLayout691.xml"/><Relationship Id="rId7" Type="http://schemas.openxmlformats.org/officeDocument/2006/relationships/slideLayout" Target="../slideLayouts/slideLayout695.xml"/><Relationship Id="rId12" Type="http://schemas.openxmlformats.org/officeDocument/2006/relationships/tags" Target="../tags/tag25.xml"/><Relationship Id="rId2" Type="http://schemas.openxmlformats.org/officeDocument/2006/relationships/slideLayout" Target="../slideLayouts/slideLayout690.xml"/><Relationship Id="rId1" Type="http://schemas.openxmlformats.org/officeDocument/2006/relationships/slideLayout" Target="../slideLayouts/slideLayout689.xml"/><Relationship Id="rId6" Type="http://schemas.openxmlformats.org/officeDocument/2006/relationships/slideLayout" Target="../slideLayouts/slideLayout694.xml"/><Relationship Id="rId11" Type="http://schemas.openxmlformats.org/officeDocument/2006/relationships/vmlDrawing" Target="../drawings/vmlDrawing25.vml"/><Relationship Id="rId5" Type="http://schemas.openxmlformats.org/officeDocument/2006/relationships/slideLayout" Target="../slideLayouts/slideLayout693.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2.xml"/><Relationship Id="rId9" Type="http://schemas.openxmlformats.org/officeDocument/2006/relationships/slideLayout" Target="../slideLayouts/slideLayout697.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5.xml"/><Relationship Id="rId13" Type="http://schemas.openxmlformats.org/officeDocument/2006/relationships/slideLayout" Target="../slideLayouts/slideLayout710.xml"/><Relationship Id="rId18" Type="http://schemas.openxmlformats.org/officeDocument/2006/relationships/slideLayout" Target="../slideLayouts/slideLayout715.xml"/><Relationship Id="rId3" Type="http://schemas.openxmlformats.org/officeDocument/2006/relationships/slideLayout" Target="../slideLayouts/slideLayout700.xml"/><Relationship Id="rId7" Type="http://schemas.openxmlformats.org/officeDocument/2006/relationships/slideLayout" Target="../slideLayouts/slideLayout704.xml"/><Relationship Id="rId12" Type="http://schemas.openxmlformats.org/officeDocument/2006/relationships/slideLayout" Target="../slideLayouts/slideLayout709.xml"/><Relationship Id="rId17" Type="http://schemas.openxmlformats.org/officeDocument/2006/relationships/slideLayout" Target="../slideLayouts/slideLayout714.xml"/><Relationship Id="rId2" Type="http://schemas.openxmlformats.org/officeDocument/2006/relationships/slideLayout" Target="../slideLayouts/slideLayout699.xml"/><Relationship Id="rId16" Type="http://schemas.openxmlformats.org/officeDocument/2006/relationships/slideLayout" Target="../slideLayouts/slideLayout713.xml"/><Relationship Id="rId20" Type="http://schemas.openxmlformats.org/officeDocument/2006/relationships/theme" Target="../theme/theme31.xml"/><Relationship Id="rId1" Type="http://schemas.openxmlformats.org/officeDocument/2006/relationships/slideLayout" Target="../slideLayouts/slideLayout698.xml"/><Relationship Id="rId6" Type="http://schemas.openxmlformats.org/officeDocument/2006/relationships/slideLayout" Target="../slideLayouts/slideLayout703.xml"/><Relationship Id="rId11" Type="http://schemas.openxmlformats.org/officeDocument/2006/relationships/slideLayout" Target="../slideLayouts/slideLayout708.xml"/><Relationship Id="rId5" Type="http://schemas.openxmlformats.org/officeDocument/2006/relationships/slideLayout" Target="../slideLayouts/slideLayout702.xml"/><Relationship Id="rId15" Type="http://schemas.openxmlformats.org/officeDocument/2006/relationships/slideLayout" Target="../slideLayouts/slideLayout712.xml"/><Relationship Id="rId10" Type="http://schemas.openxmlformats.org/officeDocument/2006/relationships/slideLayout" Target="../slideLayouts/slideLayout707.xml"/><Relationship Id="rId19" Type="http://schemas.openxmlformats.org/officeDocument/2006/relationships/slideLayout" Target="../slideLayouts/slideLayout716.xml"/><Relationship Id="rId4" Type="http://schemas.openxmlformats.org/officeDocument/2006/relationships/slideLayout" Target="../slideLayouts/slideLayout701.xml"/><Relationship Id="rId9" Type="http://schemas.openxmlformats.org/officeDocument/2006/relationships/slideLayout" Target="../slideLayouts/slideLayout706.xml"/><Relationship Id="rId14" Type="http://schemas.openxmlformats.org/officeDocument/2006/relationships/slideLayout" Target="../slideLayouts/slideLayout71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4.xml"/><Relationship Id="rId13" Type="http://schemas.openxmlformats.org/officeDocument/2006/relationships/slideLayout" Target="../slideLayouts/slideLayout729.xml"/><Relationship Id="rId18" Type="http://schemas.openxmlformats.org/officeDocument/2006/relationships/slideLayout" Target="../slideLayouts/slideLayout734.xml"/><Relationship Id="rId3" Type="http://schemas.openxmlformats.org/officeDocument/2006/relationships/slideLayout" Target="../slideLayouts/slideLayout719.xml"/><Relationship Id="rId21" Type="http://schemas.openxmlformats.org/officeDocument/2006/relationships/slideLayout" Target="../slideLayouts/slideLayout737.xml"/><Relationship Id="rId7" Type="http://schemas.openxmlformats.org/officeDocument/2006/relationships/slideLayout" Target="../slideLayouts/slideLayout723.xml"/><Relationship Id="rId12" Type="http://schemas.openxmlformats.org/officeDocument/2006/relationships/slideLayout" Target="../slideLayouts/slideLayout728.xml"/><Relationship Id="rId17" Type="http://schemas.openxmlformats.org/officeDocument/2006/relationships/slideLayout" Target="../slideLayouts/slideLayout733.xml"/><Relationship Id="rId2" Type="http://schemas.openxmlformats.org/officeDocument/2006/relationships/slideLayout" Target="../slideLayouts/slideLayout718.xml"/><Relationship Id="rId16" Type="http://schemas.openxmlformats.org/officeDocument/2006/relationships/slideLayout" Target="../slideLayouts/slideLayout732.xml"/><Relationship Id="rId20" Type="http://schemas.openxmlformats.org/officeDocument/2006/relationships/slideLayout" Target="../slideLayouts/slideLayout736.xml"/><Relationship Id="rId1" Type="http://schemas.openxmlformats.org/officeDocument/2006/relationships/slideLayout" Target="../slideLayouts/slideLayout717.xml"/><Relationship Id="rId6" Type="http://schemas.openxmlformats.org/officeDocument/2006/relationships/slideLayout" Target="../slideLayouts/slideLayout722.xml"/><Relationship Id="rId11" Type="http://schemas.openxmlformats.org/officeDocument/2006/relationships/slideLayout" Target="../slideLayouts/slideLayout727.xml"/><Relationship Id="rId24" Type="http://schemas.openxmlformats.org/officeDocument/2006/relationships/theme" Target="../theme/theme32.xml"/><Relationship Id="rId5" Type="http://schemas.openxmlformats.org/officeDocument/2006/relationships/slideLayout" Target="../slideLayouts/slideLayout721.xml"/><Relationship Id="rId15" Type="http://schemas.openxmlformats.org/officeDocument/2006/relationships/slideLayout" Target="../slideLayouts/slideLayout731.xml"/><Relationship Id="rId23" Type="http://schemas.openxmlformats.org/officeDocument/2006/relationships/slideLayout" Target="../slideLayouts/slideLayout739.xml"/><Relationship Id="rId10" Type="http://schemas.openxmlformats.org/officeDocument/2006/relationships/slideLayout" Target="../slideLayouts/slideLayout726.xml"/><Relationship Id="rId19" Type="http://schemas.openxmlformats.org/officeDocument/2006/relationships/slideLayout" Target="../slideLayouts/slideLayout735.xml"/><Relationship Id="rId4" Type="http://schemas.openxmlformats.org/officeDocument/2006/relationships/slideLayout" Target="../slideLayouts/slideLayout720.xml"/><Relationship Id="rId9" Type="http://schemas.openxmlformats.org/officeDocument/2006/relationships/slideLayout" Target="../slideLayouts/slideLayout725.xml"/><Relationship Id="rId14" Type="http://schemas.openxmlformats.org/officeDocument/2006/relationships/slideLayout" Target="../slideLayouts/slideLayout730.xml"/><Relationship Id="rId22" Type="http://schemas.openxmlformats.org/officeDocument/2006/relationships/slideLayout" Target="../slideLayouts/slideLayout738.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7.xml"/><Relationship Id="rId13" Type="http://schemas.openxmlformats.org/officeDocument/2006/relationships/theme" Target="../theme/theme33.xml"/><Relationship Id="rId3" Type="http://schemas.openxmlformats.org/officeDocument/2006/relationships/slideLayout" Target="../slideLayouts/slideLayout742.xml"/><Relationship Id="rId7" Type="http://schemas.openxmlformats.org/officeDocument/2006/relationships/slideLayout" Target="../slideLayouts/slideLayout746.xml"/><Relationship Id="rId12" Type="http://schemas.openxmlformats.org/officeDocument/2006/relationships/slideLayout" Target="../slideLayouts/slideLayout751.xml"/><Relationship Id="rId2" Type="http://schemas.openxmlformats.org/officeDocument/2006/relationships/slideLayout" Target="../slideLayouts/slideLayout741.xml"/><Relationship Id="rId1" Type="http://schemas.openxmlformats.org/officeDocument/2006/relationships/slideLayout" Target="../slideLayouts/slideLayout740.xml"/><Relationship Id="rId6" Type="http://schemas.openxmlformats.org/officeDocument/2006/relationships/slideLayout" Target="../slideLayouts/slideLayout745.xml"/><Relationship Id="rId11" Type="http://schemas.openxmlformats.org/officeDocument/2006/relationships/slideLayout" Target="../slideLayouts/slideLayout750.xml"/><Relationship Id="rId5" Type="http://schemas.openxmlformats.org/officeDocument/2006/relationships/slideLayout" Target="../slideLayouts/slideLayout744.xml"/><Relationship Id="rId10" Type="http://schemas.openxmlformats.org/officeDocument/2006/relationships/slideLayout" Target="../slideLayouts/slideLayout749.xml"/><Relationship Id="rId4" Type="http://schemas.openxmlformats.org/officeDocument/2006/relationships/slideLayout" Target="../slideLayouts/slideLayout743.xml"/><Relationship Id="rId9" Type="http://schemas.openxmlformats.org/officeDocument/2006/relationships/slideLayout" Target="../slideLayouts/slideLayout748.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9.xml"/><Relationship Id="rId13" Type="http://schemas.openxmlformats.org/officeDocument/2006/relationships/slideLayout" Target="../slideLayouts/slideLayout764.xml"/><Relationship Id="rId18" Type="http://schemas.openxmlformats.org/officeDocument/2006/relationships/slideLayout" Target="../slideLayouts/slideLayout769.xml"/><Relationship Id="rId26" Type="http://schemas.openxmlformats.org/officeDocument/2006/relationships/slideLayout" Target="../slideLayouts/slideLayout777.xml"/><Relationship Id="rId3" Type="http://schemas.openxmlformats.org/officeDocument/2006/relationships/slideLayout" Target="../slideLayouts/slideLayout754.xml"/><Relationship Id="rId21" Type="http://schemas.openxmlformats.org/officeDocument/2006/relationships/slideLayout" Target="../slideLayouts/slideLayout772.xml"/><Relationship Id="rId7" Type="http://schemas.openxmlformats.org/officeDocument/2006/relationships/slideLayout" Target="../slideLayouts/slideLayout758.xml"/><Relationship Id="rId12" Type="http://schemas.openxmlformats.org/officeDocument/2006/relationships/slideLayout" Target="../slideLayouts/slideLayout763.xml"/><Relationship Id="rId17" Type="http://schemas.openxmlformats.org/officeDocument/2006/relationships/slideLayout" Target="../slideLayouts/slideLayout768.xml"/><Relationship Id="rId25" Type="http://schemas.openxmlformats.org/officeDocument/2006/relationships/slideLayout" Target="../slideLayouts/slideLayout776.xml"/><Relationship Id="rId2" Type="http://schemas.openxmlformats.org/officeDocument/2006/relationships/slideLayout" Target="../slideLayouts/slideLayout753.xml"/><Relationship Id="rId16" Type="http://schemas.openxmlformats.org/officeDocument/2006/relationships/slideLayout" Target="../slideLayouts/slideLayout767.xml"/><Relationship Id="rId20" Type="http://schemas.openxmlformats.org/officeDocument/2006/relationships/slideLayout" Target="../slideLayouts/slideLayout771.xml"/><Relationship Id="rId29" Type="http://schemas.openxmlformats.org/officeDocument/2006/relationships/slideLayout" Target="../slideLayouts/slideLayout780.xml"/><Relationship Id="rId1" Type="http://schemas.openxmlformats.org/officeDocument/2006/relationships/slideLayout" Target="../slideLayouts/slideLayout752.xml"/><Relationship Id="rId6" Type="http://schemas.openxmlformats.org/officeDocument/2006/relationships/slideLayout" Target="../slideLayouts/slideLayout757.xml"/><Relationship Id="rId11" Type="http://schemas.openxmlformats.org/officeDocument/2006/relationships/slideLayout" Target="../slideLayouts/slideLayout762.xml"/><Relationship Id="rId24" Type="http://schemas.openxmlformats.org/officeDocument/2006/relationships/slideLayout" Target="../slideLayouts/slideLayout775.xml"/><Relationship Id="rId5" Type="http://schemas.openxmlformats.org/officeDocument/2006/relationships/slideLayout" Target="../slideLayouts/slideLayout756.xml"/><Relationship Id="rId15" Type="http://schemas.openxmlformats.org/officeDocument/2006/relationships/slideLayout" Target="../slideLayouts/slideLayout766.xml"/><Relationship Id="rId23" Type="http://schemas.openxmlformats.org/officeDocument/2006/relationships/slideLayout" Target="../slideLayouts/slideLayout774.xml"/><Relationship Id="rId28" Type="http://schemas.openxmlformats.org/officeDocument/2006/relationships/slideLayout" Target="../slideLayouts/slideLayout779.xml"/><Relationship Id="rId10" Type="http://schemas.openxmlformats.org/officeDocument/2006/relationships/slideLayout" Target="../slideLayouts/slideLayout761.xml"/><Relationship Id="rId19" Type="http://schemas.openxmlformats.org/officeDocument/2006/relationships/slideLayout" Target="../slideLayouts/slideLayout770.xml"/><Relationship Id="rId31" Type="http://schemas.openxmlformats.org/officeDocument/2006/relationships/theme" Target="../theme/theme34.xml"/><Relationship Id="rId4" Type="http://schemas.openxmlformats.org/officeDocument/2006/relationships/slideLayout" Target="../slideLayouts/slideLayout755.xml"/><Relationship Id="rId9" Type="http://schemas.openxmlformats.org/officeDocument/2006/relationships/slideLayout" Target="../slideLayouts/slideLayout760.xml"/><Relationship Id="rId14" Type="http://schemas.openxmlformats.org/officeDocument/2006/relationships/slideLayout" Target="../slideLayouts/slideLayout765.xml"/><Relationship Id="rId22" Type="http://schemas.openxmlformats.org/officeDocument/2006/relationships/slideLayout" Target="../slideLayouts/slideLayout773.xml"/><Relationship Id="rId27" Type="http://schemas.openxmlformats.org/officeDocument/2006/relationships/slideLayout" Target="../slideLayouts/slideLayout778.xml"/><Relationship Id="rId30" Type="http://schemas.openxmlformats.org/officeDocument/2006/relationships/slideLayout" Target="../slideLayouts/slideLayout7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image" Target="../media/image2.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theme" Target="../theme/theme4.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image" Target="../media/image19.png"/><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theme" Target="../theme/theme5.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theme" Target="../theme/theme6.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image" Target="../media/image2.png"/><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image" Target="../media/image2.png"/><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theme" Target="../theme/theme9.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23/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9"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15"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 id="2147484462" r:id="rId31"/>
    <p:sldLayoutId id="2147484463" r:id="rId3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23"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23/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5/23/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12192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87571" y="-3"/>
            <a:ext cx="11769968"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82456649"/>
      </p:ext>
    </p:extLst>
  </p:cSld>
  <p:clrMap bg1="lt1" tx1="dk1" bg2="lt2" tx2="dk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 id="2147484478" r:id="rId14"/>
    <p:sldLayoutId id="2147484479" r:id="rId15"/>
    <p:sldLayoutId id="2147484480" r:id="rId16"/>
    <p:sldLayoutId id="2147484481" r:id="rId17"/>
    <p:sldLayoutId id="2147484482" r:id="rId18"/>
    <p:sldLayoutId id="2147484483" r:id="rId19"/>
    <p:sldLayoutId id="2147484484" r:id="rId20"/>
    <p:sldLayoutId id="2147484485" r:id="rId21"/>
    <p:sldLayoutId id="2147484486" r:id="rId22"/>
    <p:sldLayoutId id="2147484487" r:id="rId23"/>
    <p:sldLayoutId id="2147484488" r:id="rId24"/>
    <p:sldLayoutId id="2147484489" r:id="rId25"/>
    <p:sldLayoutId id="2147484490" r:id="rId26"/>
    <p:sldLayoutId id="2147484491" r:id="rId27"/>
    <p:sldLayoutId id="2147484492" r:id="rId28"/>
    <p:sldLayoutId id="2147484493" r:id="rId29"/>
    <p:sldLayoutId id="2147484494" r:id="rId30"/>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0.xml"/><Relationship Id="rId1" Type="http://schemas.openxmlformats.org/officeDocument/2006/relationships/slideLayout" Target="../slideLayouts/slideLayout7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2.xml"/><Relationship Id="rId1" Type="http://schemas.openxmlformats.org/officeDocument/2006/relationships/slideLayout" Target="../slideLayouts/slideLayout7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notesSlide" Target="../notesSlides/notesSlide2.xml"/><Relationship Id="rId1" Type="http://schemas.openxmlformats.org/officeDocument/2006/relationships/slideLayout" Target="../slideLayouts/slideLayout752.xml"/><Relationship Id="rId4" Type="http://schemas.openxmlformats.org/officeDocument/2006/relationships/image" Target="../media/image8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1.xml"/></Relationships>
</file>

<file path=ppt/slides/_rels/slide2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3.xml"/><Relationship Id="rId1" Type="http://schemas.openxmlformats.org/officeDocument/2006/relationships/slideLayout" Target="../slideLayouts/slideLayout7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1.xml"/></Relationships>
</file>

<file path=ppt/slides/_rels/slide25.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25.xml"/><Relationship Id="rId1" Type="http://schemas.openxmlformats.org/officeDocument/2006/relationships/slideLayout" Target="../slideLayouts/slideLayout71.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10" Type="http://schemas.openxmlformats.org/officeDocument/2006/relationships/hyperlink" Target="https://learning.linkedin.com/" TargetMode="External"/><Relationship Id="rId4" Type="http://schemas.openxmlformats.org/officeDocument/2006/relationships/hyperlink" Target="http://borntolearn.mslearn.net/" TargetMode="External"/><Relationship Id="rId9" Type="http://schemas.openxmlformats.org/officeDocument/2006/relationships/hyperlink" Target="https://pluralsight.com/"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NULL" TargetMode="External"/><Relationship Id="rId2" Type="http://schemas.openxmlformats.org/officeDocument/2006/relationships/notesSlide" Target="../notesSlides/notesSlide3.xml"/><Relationship Id="rId1" Type="http://schemas.openxmlformats.org/officeDocument/2006/relationships/slideLayout" Target="../slideLayouts/slideLayout36.xml"/><Relationship Id="rId5" Type="http://schemas.openxmlformats.org/officeDocument/2006/relationships/image" Target="../media/image87.png"/><Relationship Id="rId4" Type="http://schemas.openxmlformats.org/officeDocument/2006/relationships/hyperlink" Target="NUL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3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37.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0.xml"/></Relationships>
</file>

<file path=ppt/slides/_rels/slide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xml"/><Relationship Id="rId1" Type="http://schemas.openxmlformats.org/officeDocument/2006/relationships/slideLayout" Target="../slideLayouts/slideLayout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Tips</a:t>
            </a:r>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a:xfrm>
            <a:off x="267682" y="3877290"/>
            <a:ext cx="8202549" cy="1703429"/>
          </a:xfrm>
        </p:spPr>
        <p:txBody>
          <a:bodyPr/>
          <a:lstStyle/>
          <a:p>
            <a:r>
              <a:rPr lang="en-US" sz="2800" dirty="0"/>
              <a:t>Dan Stolts</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a:xfrm>
            <a:off x="269239" y="289511"/>
            <a:ext cx="12232557" cy="899665"/>
          </a:xfrm>
        </p:spPr>
        <p:txBody>
          <a:bodyPr/>
          <a:lstStyle/>
          <a:p>
            <a:r>
              <a:rPr lang="en-US" sz="4800" dirty="0"/>
              <a:t>Consult the Official Exam Page for Your Exam</a:t>
            </a:r>
          </a:p>
        </p:txBody>
      </p:sp>
      <p:pic>
        <p:nvPicPr>
          <p:cNvPr id="4" name="Picture 3"/>
          <p:cNvPicPr>
            <a:picLocks noChangeAspect="1"/>
          </p:cNvPicPr>
          <p:nvPr/>
        </p:nvPicPr>
        <p:blipFill>
          <a:blip r:embed="rId3"/>
          <a:stretch>
            <a:fillRect/>
          </a:stretch>
        </p:blipFill>
        <p:spPr>
          <a:xfrm>
            <a:off x="979464" y="1856804"/>
            <a:ext cx="8768474" cy="4671234"/>
          </a:xfrm>
          <a:prstGeom prst="rect">
            <a:avLst/>
          </a:prstGeom>
        </p:spPr>
      </p:pic>
      <p:sp>
        <p:nvSpPr>
          <p:cNvPr id="5" name="Rectangle 4">
            <a:extLst>
              <a:ext uri="{FF2B5EF4-FFF2-40B4-BE49-F238E27FC236}">
                <a16:creationId xmlns:a16="http://schemas.microsoft.com/office/drawing/2014/main" id="{D0B11000-127B-4E55-B8C2-F6088DC7CBF1}"/>
              </a:ext>
            </a:extLst>
          </p:cNvPr>
          <p:cNvSpPr/>
          <p:nvPr/>
        </p:nvSpPr>
        <p:spPr>
          <a:xfrm>
            <a:off x="735504" y="6461538"/>
            <a:ext cx="9256394" cy="461665"/>
          </a:xfrm>
          <a:prstGeom prst="rect">
            <a:avLst/>
          </a:prstGeom>
        </p:spPr>
        <p:txBody>
          <a:bodyPr wrap="square">
            <a:spAutoFit/>
          </a:bodyPr>
          <a:lstStyle/>
          <a:p>
            <a:r>
              <a:rPr lang="en-US" sz="2400" dirty="0"/>
              <a:t>https://www.microsoft.com/en-us/learning/default.aspx</a:t>
            </a:r>
          </a:p>
        </p:txBody>
      </p:sp>
    </p:spTree>
    <p:extLst>
      <p:ext uri="{BB962C8B-B14F-4D97-AF65-F5344CB8AC3E}">
        <p14:creationId xmlns:p14="http://schemas.microsoft.com/office/powerpoint/2010/main" val="712044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imes the are a Changing</a:t>
            </a:r>
          </a:p>
        </p:txBody>
      </p:sp>
      <p:sp>
        <p:nvSpPr>
          <p:cNvPr id="3" name="Text Placeholder 2"/>
          <p:cNvSpPr>
            <a:spLocks noGrp="1"/>
          </p:cNvSpPr>
          <p:nvPr>
            <p:ph type="body" idx="1"/>
          </p:nvPr>
        </p:nvSpPr>
        <p:spPr/>
        <p:txBody>
          <a:bodyPr/>
          <a:lstStyle/>
          <a:p>
            <a:r>
              <a:rPr lang="en-US" dirty="0"/>
              <a:t>Dealing with the pace of changes in technology</a:t>
            </a:r>
          </a:p>
        </p:txBody>
      </p:sp>
    </p:spTree>
    <p:extLst>
      <p:ext uri="{BB962C8B-B14F-4D97-AF65-F5344CB8AC3E}">
        <p14:creationId xmlns:p14="http://schemas.microsoft.com/office/powerpoint/2010/main" val="24311426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111163" y="237247"/>
            <a:ext cx="11785599" cy="1011928"/>
          </a:xfrm>
        </p:spPr>
        <p:txBody>
          <a:bodyPr/>
          <a:lstStyle/>
          <a:p>
            <a:r>
              <a:rPr lang="en-US" sz="2000" dirty="0"/>
              <a:t>Exam</a:t>
            </a:r>
            <a:r>
              <a:rPr lang="en-US" sz="3600" dirty="0"/>
              <a:t> 70-535 Architecting Microsoft Azure Solutions</a:t>
            </a:r>
            <a:br>
              <a:rPr lang="en-US" sz="3600" dirty="0"/>
            </a:br>
            <a:r>
              <a:rPr lang="en-US" sz="2400" dirty="0"/>
              <a:t>Data &amp; Cloud Skill Up Workshop - Azure Fundamentals </a:t>
            </a:r>
          </a:p>
        </p:txBody>
      </p:sp>
      <p:sp>
        <p:nvSpPr>
          <p:cNvPr id="17" name="Subtitle 16">
            <a:extLst>
              <a:ext uri="{FF2B5EF4-FFF2-40B4-BE49-F238E27FC236}">
                <a16:creationId xmlns:a16="http://schemas.microsoft.com/office/drawing/2014/main" id="{0DD7E3D9-0F16-4FC0-8096-670127E70DF5}"/>
              </a:ext>
            </a:extLst>
          </p:cNvPr>
          <p:cNvSpPr>
            <a:spLocks noGrp="1"/>
          </p:cNvSpPr>
          <p:nvPr>
            <p:ph type="subTitle" sz="quarter" idx="1"/>
          </p:nvPr>
        </p:nvSpPr>
        <p:spPr>
          <a:xfrm>
            <a:off x="6576969" y="2595282"/>
            <a:ext cx="5391511" cy="3237592"/>
          </a:xfrm>
        </p:spPr>
        <p:txBody>
          <a:bodyPr/>
          <a:lstStyle/>
          <a:p>
            <a:r>
              <a:rPr lang="en-US" dirty="0"/>
              <a:t>Design Compute Infrastructure (20-25%)</a:t>
            </a:r>
          </a:p>
          <a:p>
            <a:r>
              <a:rPr lang="en-US" dirty="0"/>
              <a:t>Design Data Implementation (15-20%)</a:t>
            </a:r>
          </a:p>
          <a:p>
            <a:r>
              <a:rPr lang="en-US" dirty="0"/>
              <a:t>Design Networking Implementation (15-20%)</a:t>
            </a:r>
          </a:p>
          <a:p>
            <a:r>
              <a:rPr lang="en-US" dirty="0"/>
              <a:t>Design Security and Identity Solutions (20-25%)</a:t>
            </a:r>
          </a:p>
          <a:p>
            <a:r>
              <a:rPr lang="en-US" dirty="0"/>
              <a:t>Design Solutions by using Platform Services (10-15%)</a:t>
            </a:r>
          </a:p>
          <a:p>
            <a:r>
              <a:rPr lang="en-US" dirty="0"/>
              <a:t>Design for Operations (10-15%)</a:t>
            </a:r>
          </a:p>
        </p:txBody>
      </p:sp>
      <p:sp>
        <p:nvSpPr>
          <p:cNvPr id="3" name="Subtitle 2"/>
          <p:cNvSpPr>
            <a:spLocks noGrp="1"/>
          </p:cNvSpPr>
          <p:nvPr>
            <p:ph type="body" sz="quarter" idx="10"/>
          </p:nvPr>
        </p:nvSpPr>
        <p:spPr>
          <a:xfrm>
            <a:off x="111163" y="2543908"/>
            <a:ext cx="6298026" cy="1368279"/>
          </a:xfrm>
          <a:solidFill>
            <a:schemeClr val="accent1"/>
          </a:solidFill>
        </p:spPr>
        <p:txBody>
          <a:bodyPr/>
          <a:lstStyle/>
          <a:p>
            <a:pPr>
              <a:buClr>
                <a:schemeClr val="bg1"/>
              </a:buClr>
            </a:pPr>
            <a:r>
              <a:rPr lang="en-US" sz="1400" u="sng" dirty="0">
                <a:solidFill>
                  <a:schemeClr val="tx1"/>
                </a:solidFill>
              </a:rPr>
              <a:t>Speakers</a:t>
            </a:r>
          </a:p>
          <a:p>
            <a:pPr>
              <a:buClr>
                <a:schemeClr val="bg1"/>
              </a:buClr>
            </a:pPr>
            <a:r>
              <a:rPr lang="en-US" sz="1600" b="1" dirty="0">
                <a:solidFill>
                  <a:schemeClr val="tx1"/>
                </a:solidFill>
              </a:rPr>
              <a:t>Ryan Sockalosky, Dan Stolts, Patrick El-Azem, Coach Culbertson</a:t>
            </a:r>
          </a:p>
          <a:p>
            <a:pPr>
              <a:buClr>
                <a:schemeClr val="bg1"/>
              </a:buClr>
            </a:pPr>
            <a:r>
              <a:rPr lang="en-US" sz="1400" u="sng" dirty="0">
                <a:solidFill>
                  <a:schemeClr val="tx1"/>
                </a:solidFill>
              </a:rPr>
              <a:t>Special Guests </a:t>
            </a:r>
          </a:p>
          <a:p>
            <a:pPr>
              <a:buClr>
                <a:schemeClr val="bg1"/>
              </a:buClr>
            </a:pPr>
            <a:r>
              <a:rPr lang="en-US" sz="1600" b="1" dirty="0">
                <a:solidFill>
                  <a:schemeClr val="tx1"/>
                </a:solidFill>
              </a:rPr>
              <a:t>Steve Ramsay, Ken Skvarcius, Dan Pessin</a:t>
            </a:r>
          </a:p>
          <a:p>
            <a:pPr>
              <a:buClr>
                <a:schemeClr val="bg1"/>
              </a:buClr>
            </a:pPr>
            <a:endParaRPr lang="en-US" sz="1400" dirty="0">
              <a:solidFill>
                <a:schemeClr val="tx1"/>
              </a:solidFill>
            </a:endParaRPr>
          </a:p>
        </p:txBody>
      </p:sp>
      <p:sp>
        <p:nvSpPr>
          <p:cNvPr id="18" name="Text Placeholder 17">
            <a:extLst>
              <a:ext uri="{FF2B5EF4-FFF2-40B4-BE49-F238E27FC236}">
                <a16:creationId xmlns:a16="http://schemas.microsoft.com/office/drawing/2014/main" id="{11C93E1D-2E2F-4845-990B-E2CC8438D003}"/>
              </a:ext>
            </a:extLst>
          </p:cNvPr>
          <p:cNvSpPr>
            <a:spLocks noGrp="1"/>
          </p:cNvSpPr>
          <p:nvPr>
            <p:ph type="body" sz="quarter" idx="11"/>
          </p:nvPr>
        </p:nvSpPr>
        <p:spPr>
          <a:xfrm>
            <a:off x="349252" y="5973557"/>
            <a:ext cx="11619228" cy="592285"/>
          </a:xfrm>
        </p:spPr>
        <p:txBody>
          <a:bodyPr/>
          <a:lstStyle/>
          <a:p>
            <a:pPr lvl="0"/>
            <a:r>
              <a:rPr lang="en-US" dirty="0">
                <a:solidFill>
                  <a:srgbClr val="002060"/>
                </a:solidFill>
              </a:rPr>
              <a:t>Content Home: </a:t>
            </a:r>
            <a:r>
              <a:rPr lang="en-US" sz="2000" dirty="0">
                <a:solidFill>
                  <a:srgbClr val="002060"/>
                </a:solidFill>
              </a:rPr>
              <a:t>http://github.com/guruskill/70-535</a:t>
            </a:r>
            <a:endParaRPr lang="en-US" sz="1800" dirty="0">
              <a:solidFill>
                <a:srgbClr val="002060"/>
              </a:solidFill>
            </a:endParaRPr>
          </a:p>
          <a:p>
            <a:pPr lvl="0"/>
            <a:r>
              <a:rPr lang="en-US" dirty="0">
                <a:solidFill>
                  <a:srgbClr val="002060"/>
                </a:solidFill>
              </a:rPr>
              <a:t>Program Home: https://aka.ms/certup</a:t>
            </a:r>
          </a:p>
        </p:txBody>
      </p:sp>
      <p:sp>
        <p:nvSpPr>
          <p:cNvPr id="7" name="Text Placeholder 6">
            <a:extLst>
              <a:ext uri="{FF2B5EF4-FFF2-40B4-BE49-F238E27FC236}">
                <a16:creationId xmlns:a16="http://schemas.microsoft.com/office/drawing/2014/main" id="{46172E14-869B-4D4B-9CDA-AE5631D263FF}"/>
              </a:ext>
            </a:extLst>
          </p:cNvPr>
          <p:cNvSpPr>
            <a:spLocks noGrp="1"/>
          </p:cNvSpPr>
          <p:nvPr>
            <p:ph type="body" sz="quarter" idx="12"/>
          </p:nvPr>
        </p:nvSpPr>
        <p:spPr>
          <a:xfrm>
            <a:off x="3239020" y="1276199"/>
            <a:ext cx="5839691" cy="1060211"/>
          </a:xfrm>
        </p:spPr>
        <p:txBody>
          <a:bodyPr/>
          <a:lstStyle/>
          <a:p>
            <a:pPr lvl="0"/>
            <a:r>
              <a:rPr lang="en-US" sz="1600" b="1" dirty="0" err="1">
                <a:solidFill>
                  <a:srgbClr val="FFC000"/>
                </a:solidFill>
              </a:rPr>
              <a:t>WiFi</a:t>
            </a:r>
            <a:r>
              <a:rPr lang="en-US" sz="1600" b="1" dirty="0">
                <a:solidFill>
                  <a:srgbClr val="FFC000"/>
                </a:solidFill>
              </a:rPr>
              <a:t>:  MSFTGUEST &gt; Open Browser  </a:t>
            </a:r>
          </a:p>
          <a:p>
            <a:pPr lvl="0"/>
            <a:r>
              <a:rPr lang="en-US" sz="1600" b="1" dirty="0">
                <a:solidFill>
                  <a:srgbClr val="FFC000"/>
                </a:solidFill>
              </a:rPr>
              <a:t>Code: </a:t>
            </a:r>
            <a:r>
              <a:rPr lang="en-US" sz="3600" b="1" dirty="0"/>
              <a:t>msevent795ny</a:t>
            </a:r>
            <a:endParaRPr lang="en-US" sz="1800" b="1" dirty="0">
              <a:solidFill>
                <a:srgbClr val="FFC000"/>
              </a:solidFill>
            </a:endParaRPr>
          </a:p>
        </p:txBody>
      </p:sp>
      <p:pic>
        <p:nvPicPr>
          <p:cNvPr id="5" name="Picture 4">
            <a:extLst>
              <a:ext uri="{FF2B5EF4-FFF2-40B4-BE49-F238E27FC236}">
                <a16:creationId xmlns:a16="http://schemas.microsoft.com/office/drawing/2014/main" id="{006052AD-D074-4632-ACD9-34E0EFC639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82263" y="131774"/>
            <a:ext cx="1709737" cy="2100414"/>
          </a:xfrm>
          <a:prstGeom prst="rect">
            <a:avLst/>
          </a:prstGeom>
        </p:spPr>
      </p:pic>
      <p:sp>
        <p:nvSpPr>
          <p:cNvPr id="9" name="Flowchart: Document 8">
            <a:extLst>
              <a:ext uri="{FF2B5EF4-FFF2-40B4-BE49-F238E27FC236}">
                <a16:creationId xmlns:a16="http://schemas.microsoft.com/office/drawing/2014/main" id="{FF9FFA3D-2C74-4D79-8FCF-B541AE9FED97}"/>
              </a:ext>
            </a:extLst>
          </p:cNvPr>
          <p:cNvSpPr/>
          <p:nvPr/>
        </p:nvSpPr>
        <p:spPr bwMode="auto">
          <a:xfrm>
            <a:off x="111163" y="1249175"/>
            <a:ext cx="2906829" cy="983013"/>
          </a:xfrm>
          <a:prstGeom prst="flowChartDocument">
            <a:avLst/>
          </a:prstGeom>
          <a:solidFill>
            <a:srgbClr val="3399FF"/>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Verdana" pitchFamily="34" charset="0"/>
                <a:ea typeface="+mn-ea"/>
                <a:cs typeface="Arial" charset="0"/>
              </a:rPr>
              <a:t>Welcom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Verdana" pitchFamily="34" charset="0"/>
                <a:ea typeface="+mn-ea"/>
                <a:cs typeface="Arial" charset="0"/>
              </a:rPr>
              <a:t>To Irving </a:t>
            </a:r>
          </a:p>
        </p:txBody>
      </p:sp>
      <p:sp>
        <p:nvSpPr>
          <p:cNvPr id="4" name="Rectangle 3">
            <a:extLst>
              <a:ext uri="{FF2B5EF4-FFF2-40B4-BE49-F238E27FC236}">
                <a16:creationId xmlns:a16="http://schemas.microsoft.com/office/drawing/2014/main" id="{381AB869-4BFD-467E-96B0-91FA9DD8846F}"/>
              </a:ext>
            </a:extLst>
          </p:cNvPr>
          <p:cNvSpPr/>
          <p:nvPr/>
        </p:nvSpPr>
        <p:spPr>
          <a:xfrm>
            <a:off x="-5085" y="2232188"/>
            <a:ext cx="1494320" cy="369332"/>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
                <a:srgbClr val="FFFFFF"/>
              </a:buClr>
              <a:buSzTx/>
              <a:buFontTx/>
              <a:buNone/>
              <a:tabLst/>
              <a:defRPr/>
            </a:pPr>
            <a:r>
              <a:rPr kumimoji="0" lang="en-US" sz="1800" b="1" i="0" u="none" strike="noStrike" kern="1200" cap="none" spc="0" normalizeH="0" baseline="0" noProof="0" dirty="0">
                <a:ln>
                  <a:noFill/>
                </a:ln>
                <a:solidFill>
                  <a:srgbClr val="000000"/>
                </a:solidFill>
                <a:effectLst/>
                <a:uLnTx/>
                <a:uFillTx/>
                <a:latin typeface="Verdana" pitchFamily="34" charset="0"/>
                <a:ea typeface="+mn-ea"/>
                <a:cs typeface="Arial" charset="0"/>
              </a:rPr>
              <a:t>The Crew:</a:t>
            </a:r>
          </a:p>
        </p:txBody>
      </p:sp>
      <p:sp>
        <p:nvSpPr>
          <p:cNvPr id="11" name="Rectangle 10">
            <a:extLst>
              <a:ext uri="{FF2B5EF4-FFF2-40B4-BE49-F238E27FC236}">
                <a16:creationId xmlns:a16="http://schemas.microsoft.com/office/drawing/2014/main" id="{D6EE90F2-0AF1-4D05-B0F5-C96429EB1C1A}"/>
              </a:ext>
            </a:extLst>
          </p:cNvPr>
          <p:cNvSpPr/>
          <p:nvPr/>
        </p:nvSpPr>
        <p:spPr>
          <a:xfrm>
            <a:off x="5754849" y="5946533"/>
            <a:ext cx="6213631" cy="64633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Verdana" pitchFamily="34" charset="0"/>
                <a:ea typeface="+mn-ea"/>
                <a:cs typeface="Arial" charset="0"/>
              </a:rPr>
              <a:t>Slides: …/Presentations/2018-05-22-Irving/ </a:t>
            </a:r>
            <a:br>
              <a:rPr kumimoji="0" lang="en-US" sz="1800" b="1" i="0" u="none" strike="noStrike" kern="1200" cap="none" spc="0" normalizeH="0" baseline="0" noProof="0" dirty="0">
                <a:ln>
                  <a:noFill/>
                </a:ln>
                <a:solidFill>
                  <a:srgbClr val="000000"/>
                </a:solidFill>
                <a:effectLst/>
                <a:uLnTx/>
                <a:uFillTx/>
                <a:latin typeface="Verdana" pitchFamily="34" charset="0"/>
                <a:ea typeface="+mn-ea"/>
                <a:cs typeface="Arial" charset="0"/>
              </a:rPr>
            </a:br>
            <a:r>
              <a:rPr kumimoji="0" lang="en-US" sz="1800" b="1" i="0" u="none" strike="noStrike" kern="1200" cap="none" spc="0" normalizeH="0" baseline="0" noProof="0" dirty="0">
                <a:ln>
                  <a:noFill/>
                </a:ln>
                <a:solidFill>
                  <a:srgbClr val="000000"/>
                </a:solidFill>
                <a:effectLst/>
                <a:uLnTx/>
                <a:uFillTx/>
                <a:latin typeface="Verdana" pitchFamily="34" charset="0"/>
                <a:ea typeface="+mn-ea"/>
                <a:cs typeface="Arial" charset="0"/>
              </a:rPr>
              <a:t>Labs: …/Labs/ </a:t>
            </a:r>
          </a:p>
        </p:txBody>
      </p:sp>
      <p:grpSp>
        <p:nvGrpSpPr>
          <p:cNvPr id="10" name="Group 9">
            <a:extLst>
              <a:ext uri="{FF2B5EF4-FFF2-40B4-BE49-F238E27FC236}">
                <a16:creationId xmlns:a16="http://schemas.microsoft.com/office/drawing/2014/main" id="{33D7655F-402E-47DA-BC50-472F94590BD1}"/>
              </a:ext>
            </a:extLst>
          </p:cNvPr>
          <p:cNvGrpSpPr/>
          <p:nvPr/>
        </p:nvGrpSpPr>
        <p:grpSpPr>
          <a:xfrm>
            <a:off x="10450040" y="5395581"/>
            <a:ext cx="1573618" cy="550952"/>
            <a:chOff x="7133866" y="1249175"/>
            <a:chExt cx="2824513" cy="1038979"/>
          </a:xfrm>
        </p:grpSpPr>
        <p:sp>
          <p:nvSpPr>
            <p:cNvPr id="6" name="Rectangle 5">
              <a:extLst>
                <a:ext uri="{FF2B5EF4-FFF2-40B4-BE49-F238E27FC236}">
                  <a16:creationId xmlns:a16="http://schemas.microsoft.com/office/drawing/2014/main" id="{56A8C8A6-C303-47E3-81C3-58744D2675DC}"/>
                </a:ext>
              </a:extLst>
            </p:cNvPr>
            <p:cNvSpPr/>
            <p:nvPr/>
          </p:nvSpPr>
          <p:spPr bwMode="auto">
            <a:xfrm>
              <a:off x="7240772" y="1402739"/>
              <a:ext cx="2604977" cy="801466"/>
            </a:xfrm>
            <a:prstGeom prst="rect">
              <a:avLst/>
            </a:prstGeom>
            <a:solidFill>
              <a:schemeClr val="bg1"/>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Verdana" pitchFamily="34" charset="0"/>
                <a:ea typeface="+mn-ea"/>
                <a:cs typeface="Arial" charset="0"/>
              </a:endParaRPr>
            </a:p>
          </p:txBody>
        </p:sp>
        <p:pic>
          <p:nvPicPr>
            <p:cNvPr id="12" name="Picture 11">
              <a:extLst>
                <a:ext uri="{FF2B5EF4-FFF2-40B4-BE49-F238E27FC236}">
                  <a16:creationId xmlns:a16="http://schemas.microsoft.com/office/drawing/2014/main" id="{9EC63A0C-22E6-40CB-80A3-EE59249A3FE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33866" y="1249175"/>
              <a:ext cx="2824513" cy="1038979"/>
            </a:xfrm>
            <a:prstGeom prst="rect">
              <a:avLst/>
            </a:prstGeom>
          </p:spPr>
        </p:pic>
      </p:grpSp>
      <p:sp>
        <p:nvSpPr>
          <p:cNvPr id="13" name="TextBox 12">
            <a:extLst>
              <a:ext uri="{FF2B5EF4-FFF2-40B4-BE49-F238E27FC236}">
                <a16:creationId xmlns:a16="http://schemas.microsoft.com/office/drawing/2014/main" id="{DB258D33-3612-4426-BE7B-80023F3FE7DA}"/>
              </a:ext>
            </a:extLst>
          </p:cNvPr>
          <p:cNvSpPr txBox="1"/>
          <p:nvPr/>
        </p:nvSpPr>
        <p:spPr>
          <a:xfrm>
            <a:off x="7583200" y="1457549"/>
            <a:ext cx="2899063"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Verdana" pitchFamily="34" charset="0"/>
                <a:ea typeface="+mn-ea"/>
                <a:cs typeface="Arial" charset="0"/>
              </a:rPr>
              <a:t>For labs us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Verdana" pitchFamily="34" charset="0"/>
                <a:ea typeface="+mn-ea"/>
                <a:cs typeface="Arial" charset="0"/>
              </a:rPr>
              <a:t>-size “Standard_D1”</a:t>
            </a:r>
          </a:p>
        </p:txBody>
      </p:sp>
      <p:sp>
        <p:nvSpPr>
          <p:cNvPr id="14" name="Rectangle 13">
            <a:extLst>
              <a:ext uri="{FF2B5EF4-FFF2-40B4-BE49-F238E27FC236}">
                <a16:creationId xmlns:a16="http://schemas.microsoft.com/office/drawing/2014/main" id="{3ECDA8D9-5694-473E-91FF-E58C5B9F8B7B}"/>
              </a:ext>
            </a:extLst>
          </p:cNvPr>
          <p:cNvSpPr/>
          <p:nvPr/>
        </p:nvSpPr>
        <p:spPr>
          <a:xfrm>
            <a:off x="7735824" y="6223532"/>
            <a:ext cx="4357089" cy="369332"/>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43C8"/>
                </a:solidFill>
                <a:effectLst/>
                <a:uLnTx/>
                <a:uFillTx/>
                <a:latin typeface="Verdana" pitchFamily="34" charset="0"/>
                <a:ea typeface="+mn-ea"/>
                <a:cs typeface="Arial" charset="0"/>
              </a:rPr>
              <a:t>Laptop User: MTC = </a:t>
            </a:r>
            <a:r>
              <a:rPr kumimoji="0" lang="en-US" sz="1800" b="1" i="0" u="none" strike="noStrike" kern="1200" cap="none" spc="0" normalizeH="0" baseline="0" noProof="0" dirty="0" err="1">
                <a:ln>
                  <a:noFill/>
                </a:ln>
                <a:solidFill>
                  <a:srgbClr val="0043C8"/>
                </a:solidFill>
                <a:effectLst/>
                <a:uLnTx/>
                <a:uFillTx/>
                <a:latin typeface="Verdana" pitchFamily="34" charset="0"/>
                <a:ea typeface="+mn-ea"/>
                <a:cs typeface="Arial" charset="0"/>
              </a:rPr>
              <a:t>P@ssword</a:t>
            </a:r>
            <a:endParaRPr kumimoji="0" lang="en-US" sz="1600" b="1" i="0" u="none" strike="noStrike" kern="1200" cap="none" spc="0" normalizeH="0" baseline="0" noProof="0" dirty="0">
              <a:ln>
                <a:noFill/>
              </a:ln>
              <a:solidFill>
                <a:srgbClr val="0043C8"/>
              </a:solidFill>
              <a:effectLst/>
              <a:uLnTx/>
              <a:uFillTx/>
              <a:latin typeface="Verdana" pitchFamily="34" charset="0"/>
              <a:ea typeface="+mn-ea"/>
              <a:cs typeface="Arial" charset="0"/>
            </a:endParaRPr>
          </a:p>
        </p:txBody>
      </p:sp>
      <p:graphicFrame>
        <p:nvGraphicFramePr>
          <p:cNvPr id="15" name="Table 14">
            <a:extLst>
              <a:ext uri="{FF2B5EF4-FFF2-40B4-BE49-F238E27FC236}">
                <a16:creationId xmlns:a16="http://schemas.microsoft.com/office/drawing/2014/main" id="{EF0E46EF-F773-4A9F-AC13-6D0746427DDB}"/>
              </a:ext>
            </a:extLst>
          </p:cNvPr>
          <p:cNvGraphicFramePr>
            <a:graphicFrameLocks noGrp="1"/>
          </p:cNvGraphicFramePr>
          <p:nvPr>
            <p:extLst>
              <p:ext uri="{D42A27DB-BD31-4B8C-83A1-F6EECF244321}">
                <p14:modId xmlns:p14="http://schemas.microsoft.com/office/powerpoint/2010/main" val="2099221269"/>
              </p:ext>
            </p:extLst>
          </p:nvPr>
        </p:nvGraphicFramePr>
        <p:xfrm>
          <a:off x="349252" y="3993221"/>
          <a:ext cx="6059937" cy="1588580"/>
        </p:xfrm>
        <a:graphic>
          <a:graphicData uri="http://schemas.openxmlformats.org/drawingml/2006/table">
            <a:tbl>
              <a:tblPr firstRow="1" firstCol="1" bandRow="1"/>
              <a:tblGrid>
                <a:gridCol w="1357969">
                  <a:extLst>
                    <a:ext uri="{9D8B030D-6E8A-4147-A177-3AD203B41FA5}">
                      <a16:colId xmlns:a16="http://schemas.microsoft.com/office/drawing/2014/main" val="3614457985"/>
                    </a:ext>
                  </a:extLst>
                </a:gridCol>
                <a:gridCol w="3089380">
                  <a:extLst>
                    <a:ext uri="{9D8B030D-6E8A-4147-A177-3AD203B41FA5}">
                      <a16:colId xmlns:a16="http://schemas.microsoft.com/office/drawing/2014/main" val="301559298"/>
                    </a:ext>
                  </a:extLst>
                </a:gridCol>
                <a:gridCol w="1612588">
                  <a:extLst>
                    <a:ext uri="{9D8B030D-6E8A-4147-A177-3AD203B41FA5}">
                      <a16:colId xmlns:a16="http://schemas.microsoft.com/office/drawing/2014/main" val="321939205"/>
                    </a:ext>
                  </a:extLst>
                </a:gridCol>
              </a:tblGrid>
              <a:tr h="280670">
                <a:tc>
                  <a:txBody>
                    <a:bodyPr/>
                    <a:lstStyle/>
                    <a:p>
                      <a:pPr marL="0" marR="0" algn="ctr">
                        <a:lnSpc>
                          <a:spcPct val="106000"/>
                        </a:lnSpc>
                        <a:spcBef>
                          <a:spcPts val="0"/>
                        </a:spcBef>
                        <a:spcAft>
                          <a:spcPts val="0"/>
                        </a:spcAft>
                      </a:pPr>
                      <a:r>
                        <a:rPr lang="en-US" sz="1400" b="1"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Ti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0C0"/>
                    </a:solidFill>
                  </a:tcPr>
                </a:tc>
                <a:tc>
                  <a:txBody>
                    <a:bodyPr/>
                    <a:lstStyle/>
                    <a:p>
                      <a:pPr marL="0" marR="0" algn="ctr">
                        <a:lnSpc>
                          <a:spcPct val="106000"/>
                        </a:lnSpc>
                        <a:spcBef>
                          <a:spcPts val="0"/>
                        </a:spcBef>
                        <a:spcAft>
                          <a:spcPts val="0"/>
                        </a:spcAft>
                      </a:pPr>
                      <a:r>
                        <a:rPr lang="en-US" sz="1400" b="1"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Topic</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0C0"/>
                    </a:solidFill>
                  </a:tcPr>
                </a:tc>
                <a:tc>
                  <a:txBody>
                    <a:bodyPr/>
                    <a:lstStyle/>
                    <a:p>
                      <a:pPr marL="0" marR="0" algn="ctr">
                        <a:lnSpc>
                          <a:spcPct val="106000"/>
                        </a:lnSpc>
                        <a:spcBef>
                          <a:spcPts val="0"/>
                        </a:spcBef>
                        <a:spcAft>
                          <a:spcPts val="0"/>
                        </a:spcAft>
                      </a:pPr>
                      <a:r>
                        <a:rPr lang="en-US" sz="1400" b="1"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Speaker</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0C0"/>
                    </a:solidFill>
                  </a:tcPr>
                </a:tc>
                <a:extLst>
                  <a:ext uri="{0D108BD9-81ED-4DB2-BD59-A6C34878D82A}">
                    <a16:rowId xmlns:a16="http://schemas.microsoft.com/office/drawing/2014/main" val="4199397761"/>
                  </a:ext>
                </a:extLst>
              </a:tr>
              <a:tr h="271145">
                <a:tc>
                  <a:txBody>
                    <a:bodyPr/>
                    <a:lstStyle/>
                    <a:p>
                      <a:pPr marL="0" marR="0" algn="ctr">
                        <a:lnSpc>
                          <a:spcPct val="106000"/>
                        </a:lnSpc>
                        <a:spcBef>
                          <a:spcPts val="0"/>
                        </a:spcBef>
                        <a:spcAft>
                          <a:spcPts val="0"/>
                        </a:spcAft>
                      </a:pPr>
                      <a:r>
                        <a:rPr lang="en-US" sz="1300" b="1"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8:30 – 9: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70C0"/>
                    </a:solidFill>
                  </a:tcPr>
                </a:tc>
                <a:tc gridSpan="2">
                  <a:txBody>
                    <a:bodyPr/>
                    <a:lstStyle/>
                    <a:p>
                      <a:pPr marL="0" marR="0" algn="ctr">
                        <a:lnSpc>
                          <a:spcPct val="106000"/>
                        </a:lnSpc>
                        <a:spcBef>
                          <a:spcPts val="0"/>
                        </a:spcBef>
                        <a:spcAft>
                          <a:spcPts val="0"/>
                        </a:spcAft>
                      </a:pPr>
                      <a:r>
                        <a:rPr lang="en-US" sz="12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reakfast, Registration, Setup</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C000"/>
                    </a:solidFill>
                  </a:tcPr>
                </a:tc>
                <a:tc hMerge="1">
                  <a:txBody>
                    <a:bodyPr/>
                    <a:lstStyle/>
                    <a:p>
                      <a:endParaRPr lang="en-US"/>
                    </a:p>
                  </a:txBody>
                  <a:tcPr/>
                </a:tc>
                <a:extLst>
                  <a:ext uri="{0D108BD9-81ED-4DB2-BD59-A6C34878D82A}">
                    <a16:rowId xmlns:a16="http://schemas.microsoft.com/office/drawing/2014/main" val="565465964"/>
                  </a:ext>
                </a:extLst>
              </a:tr>
              <a:tr h="271145">
                <a:tc>
                  <a:txBody>
                    <a:bodyPr/>
                    <a:lstStyle/>
                    <a:p>
                      <a:pPr marL="0" marR="0" algn="ctr">
                        <a:lnSpc>
                          <a:spcPct val="106000"/>
                        </a:lnSpc>
                        <a:spcBef>
                          <a:spcPts val="0"/>
                        </a:spcBef>
                        <a:spcAft>
                          <a:spcPts val="0"/>
                        </a:spcAft>
                      </a:pPr>
                      <a:r>
                        <a:rPr lang="en-US" sz="1300" b="1"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9:00 – 9:4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70C0"/>
                    </a:solidFill>
                  </a:tcPr>
                </a:tc>
                <a:tc>
                  <a:txBody>
                    <a:bodyPr/>
                    <a:lstStyle/>
                    <a:p>
                      <a:pPr marL="0" marR="0">
                        <a:lnSpc>
                          <a:spcPct val="106000"/>
                        </a:lnSpc>
                        <a:spcBef>
                          <a:spcPts val="0"/>
                        </a:spcBef>
                        <a:spcAft>
                          <a:spcPts val="0"/>
                        </a:spcAft>
                      </a:pPr>
                      <a:r>
                        <a:rPr lang="en-US" sz="12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xam Tips and Architecting for Your Compan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FF4"/>
                    </a:solidFill>
                  </a:tcPr>
                </a:tc>
                <a:tc>
                  <a:txBody>
                    <a:bodyPr/>
                    <a:lstStyle/>
                    <a:p>
                      <a:pPr marL="0" marR="0">
                        <a:lnSpc>
                          <a:spcPct val="106000"/>
                        </a:lnSpc>
                        <a:spcBef>
                          <a:spcPts val="0"/>
                        </a:spcBef>
                        <a:spcAft>
                          <a:spcPts val="0"/>
                        </a:spcAft>
                      </a:pPr>
                      <a:r>
                        <a:rPr lang="en-US" sz="12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an Stolts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FF4"/>
                    </a:solidFill>
                  </a:tcPr>
                </a:tc>
                <a:extLst>
                  <a:ext uri="{0D108BD9-81ED-4DB2-BD59-A6C34878D82A}">
                    <a16:rowId xmlns:a16="http://schemas.microsoft.com/office/drawing/2014/main" val="1801003988"/>
                  </a:ext>
                </a:extLst>
              </a:tr>
              <a:tr h="229870">
                <a:tc>
                  <a:txBody>
                    <a:bodyPr/>
                    <a:lstStyle/>
                    <a:p>
                      <a:pPr marL="0" marR="0" algn="ctr">
                        <a:lnSpc>
                          <a:spcPct val="106000"/>
                        </a:lnSpc>
                        <a:spcBef>
                          <a:spcPts val="0"/>
                        </a:spcBef>
                        <a:spcAft>
                          <a:spcPts val="0"/>
                        </a:spcAft>
                      </a:pPr>
                      <a:r>
                        <a:rPr lang="en-US" sz="1300" b="1"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9:45 – 10: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70C0"/>
                    </a:solidFill>
                  </a:tcPr>
                </a:tc>
                <a:tc gridSpan="2">
                  <a:txBody>
                    <a:bodyPr/>
                    <a:lstStyle/>
                    <a:p>
                      <a:pPr marL="0" marR="0" algn="ctr">
                        <a:lnSpc>
                          <a:spcPct val="106000"/>
                        </a:lnSpc>
                        <a:spcBef>
                          <a:spcPts val="0"/>
                        </a:spcBef>
                        <a:spcAft>
                          <a:spcPts val="0"/>
                        </a:spcAft>
                      </a:pPr>
                      <a:r>
                        <a:rPr lang="en-US" sz="12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reak &amp; Networking with Microsof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C000"/>
                    </a:solidFill>
                  </a:tcPr>
                </a:tc>
                <a:tc hMerge="1">
                  <a:txBody>
                    <a:bodyPr/>
                    <a:lstStyle/>
                    <a:p>
                      <a:endParaRPr lang="en-US"/>
                    </a:p>
                  </a:txBody>
                  <a:tcPr/>
                </a:tc>
                <a:extLst>
                  <a:ext uri="{0D108BD9-81ED-4DB2-BD59-A6C34878D82A}">
                    <a16:rowId xmlns:a16="http://schemas.microsoft.com/office/drawing/2014/main" val="1726299575"/>
                  </a:ext>
                </a:extLst>
              </a:tr>
              <a:tr h="256540">
                <a:tc>
                  <a:txBody>
                    <a:bodyPr/>
                    <a:lstStyle/>
                    <a:p>
                      <a:pPr marL="0" marR="0" algn="ctr">
                        <a:lnSpc>
                          <a:spcPct val="106000"/>
                        </a:lnSpc>
                        <a:spcBef>
                          <a:spcPts val="0"/>
                        </a:spcBef>
                        <a:spcAft>
                          <a:spcPts val="0"/>
                        </a:spcAft>
                      </a:pPr>
                      <a:r>
                        <a:rPr lang="en-US" sz="1300" b="1"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10:00 – 11: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70C0"/>
                    </a:solidFill>
                  </a:tcPr>
                </a:tc>
                <a:tc>
                  <a:txBody>
                    <a:bodyPr/>
                    <a:lstStyle/>
                    <a:p>
                      <a:pPr marL="0" marR="0">
                        <a:lnSpc>
                          <a:spcPct val="106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Design Compute Infrastructure</a:t>
                      </a:r>
                      <a:r>
                        <a:rPr lang="en-US" sz="12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FF4"/>
                    </a:solidFill>
                  </a:tcPr>
                </a:tc>
                <a:tc>
                  <a:txBody>
                    <a:bodyPr/>
                    <a:lstStyle/>
                    <a:p>
                      <a:pPr marL="0" marR="0">
                        <a:lnSpc>
                          <a:spcPct val="106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Dan Stolt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FF4"/>
                    </a:solidFill>
                  </a:tcPr>
                </a:tc>
                <a:extLst>
                  <a:ext uri="{0D108BD9-81ED-4DB2-BD59-A6C34878D82A}">
                    <a16:rowId xmlns:a16="http://schemas.microsoft.com/office/drawing/2014/main" val="3788434401"/>
                  </a:ext>
                </a:extLst>
              </a:tr>
              <a:tr h="277495">
                <a:tc>
                  <a:txBody>
                    <a:bodyPr/>
                    <a:lstStyle/>
                    <a:p>
                      <a:pPr marL="0" marR="0" algn="ctr">
                        <a:lnSpc>
                          <a:spcPct val="106000"/>
                        </a:lnSpc>
                        <a:spcBef>
                          <a:spcPts val="0"/>
                        </a:spcBef>
                        <a:spcAft>
                          <a:spcPts val="0"/>
                        </a:spcAft>
                      </a:pPr>
                      <a:r>
                        <a:rPr lang="en-US" sz="1300" b="1"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11:00 – 12: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70C0"/>
                    </a:solidFill>
                  </a:tcPr>
                </a:tc>
                <a:tc>
                  <a:txBody>
                    <a:bodyPr/>
                    <a:lstStyle/>
                    <a:p>
                      <a:pPr marL="0" marR="0">
                        <a:lnSpc>
                          <a:spcPct val="106000"/>
                        </a:lnSpc>
                        <a:spcBef>
                          <a:spcPts val="0"/>
                        </a:spcBef>
                        <a:spcAft>
                          <a:spcPts val="0"/>
                        </a:spcAft>
                      </a:pPr>
                      <a:r>
                        <a:rPr lang="en-US" sz="12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sign Solutions Using Platform Service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FF4"/>
                    </a:solidFill>
                  </a:tcPr>
                </a:tc>
                <a:tc>
                  <a:txBody>
                    <a:bodyPr/>
                    <a:lstStyle/>
                    <a:p>
                      <a:pPr marL="0" marR="0">
                        <a:lnSpc>
                          <a:spcPct val="106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Coach Culberts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0325" marR="60325" marT="15240" marB="1524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FF4"/>
                    </a:solidFill>
                  </a:tcPr>
                </a:tc>
                <a:extLst>
                  <a:ext uri="{0D108BD9-81ED-4DB2-BD59-A6C34878D82A}">
                    <a16:rowId xmlns:a16="http://schemas.microsoft.com/office/drawing/2014/main" val="2993078167"/>
                  </a:ext>
                </a:extLst>
              </a:tr>
            </a:tbl>
          </a:graphicData>
        </a:graphic>
      </p:graphicFrame>
    </p:spTree>
    <p:extLst>
      <p:ext uri="{BB962C8B-B14F-4D97-AF65-F5344CB8AC3E}">
        <p14:creationId xmlns:p14="http://schemas.microsoft.com/office/powerpoint/2010/main" val="3955459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
        <p:nvSpPr>
          <p:cNvPr id="4" name="Rectangle 3">
            <a:extLst>
              <a:ext uri="{FF2B5EF4-FFF2-40B4-BE49-F238E27FC236}">
                <a16:creationId xmlns:a16="http://schemas.microsoft.com/office/drawing/2014/main" id="{185F856D-6FED-4954-89F2-B6EBE7913CED}"/>
              </a:ext>
            </a:extLst>
          </p:cNvPr>
          <p:cNvSpPr/>
          <p:nvPr/>
        </p:nvSpPr>
        <p:spPr>
          <a:xfrm>
            <a:off x="105295" y="5824250"/>
            <a:ext cx="12086705" cy="584775"/>
          </a:xfrm>
          <a:prstGeom prst="rect">
            <a:avLst/>
          </a:prstGeom>
        </p:spPr>
        <p:txBody>
          <a:bodyPr wrap="square">
            <a:spAutoFit/>
          </a:bodyPr>
          <a:lstStyle/>
          <a:p>
            <a:r>
              <a:rPr lang="en-US" sz="3200" dirty="0"/>
              <a:t>https://www.microsoft.com/en-us/learning/exam-70-535.aspx</a:t>
            </a:r>
          </a:p>
        </p:txBody>
      </p:sp>
    </p:spTree>
    <p:extLst>
      <p:ext uri="{BB962C8B-B14F-4D97-AF65-F5344CB8AC3E}">
        <p14:creationId xmlns:p14="http://schemas.microsoft.com/office/powerpoint/2010/main" val="35291544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4E060D4-671E-4D5C-859E-E24C0B32D3F2}"/>
              </a:ext>
            </a:extLst>
          </p:cNvPr>
          <p:cNvSpPr/>
          <p:nvPr/>
        </p:nvSpPr>
        <p:spPr>
          <a:xfrm>
            <a:off x="735504" y="6461538"/>
            <a:ext cx="9256394" cy="461665"/>
          </a:xfrm>
          <a:prstGeom prst="rect">
            <a:avLst/>
          </a:prstGeom>
        </p:spPr>
        <p:txBody>
          <a:bodyPr wrap="square">
            <a:spAutoFit/>
          </a:bodyPr>
          <a:lstStyle/>
          <a:p>
            <a:r>
              <a:rPr lang="en-US" sz="2400" dirty="0"/>
              <a:t>https://www.microsoft.com/en-us/learning/default.aspx</a:t>
            </a:r>
          </a:p>
        </p:txBody>
      </p:sp>
    </p:spTree>
    <p:extLst>
      <p:ext uri="{BB962C8B-B14F-4D97-AF65-F5344CB8AC3E}">
        <p14:creationId xmlns:p14="http://schemas.microsoft.com/office/powerpoint/2010/main" val="143503897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3651"/>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a:p>
            <a:r>
              <a:rPr lang="en-US" dirty="0">
                <a:solidFill>
                  <a:schemeClr val="bg1"/>
                </a:solidFill>
                <a:hlinkClick r:id="rId9"/>
              </a:rPr>
              <a:t>Pluralsight</a:t>
            </a:r>
            <a:endParaRPr lang="en-US" dirty="0">
              <a:solidFill>
                <a:schemeClr val="bg1"/>
              </a:solidFill>
            </a:endParaRPr>
          </a:p>
          <a:p>
            <a:r>
              <a:rPr lang="en-US" dirty="0">
                <a:solidFill>
                  <a:schemeClr val="bg1"/>
                </a:solidFill>
                <a:hlinkClick r:id="rId10"/>
              </a:rPr>
              <a:t>Learning.LinkedIn.com</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Certification Program</a:t>
            </a:r>
          </a:p>
        </p:txBody>
      </p:sp>
      <p:sp>
        <p:nvSpPr>
          <p:cNvPr id="3" name="TextBox 2"/>
          <p:cNvSpPr txBox="1"/>
          <p:nvPr/>
        </p:nvSpPr>
        <p:spPr>
          <a:xfrm>
            <a:off x="1981200" y="1436915"/>
            <a:ext cx="4724400" cy="5109091"/>
          </a:xfrm>
          <a:prstGeom prst="rect">
            <a:avLst/>
          </a:prstGeom>
          <a:noFill/>
        </p:spPr>
        <p:txBody>
          <a:bodyPr wrap="square" rtlCol="0">
            <a:spAutoFit/>
          </a:bodyPr>
          <a:lstStyle/>
          <a:p>
            <a:r>
              <a:rPr lang="en-US" sz="3800" dirty="0">
                <a:solidFill>
                  <a:srgbClr val="0072C6"/>
                </a:solidFill>
              </a:rPr>
              <a:t>Get ahead.</a:t>
            </a:r>
          </a:p>
          <a:p>
            <a:endParaRPr lang="en-US" dirty="0"/>
          </a:p>
          <a:p>
            <a:r>
              <a:rPr lang="en-US" dirty="0"/>
              <a:t>Microsoft Certifications demonstrate that you have the skills to design, deploy, and optimize the latest technology solutions. </a:t>
            </a:r>
          </a:p>
          <a:p>
            <a:endParaRPr lang="en-US" dirty="0"/>
          </a:p>
          <a:p>
            <a:r>
              <a:rPr lang="en-US" dirty="0"/>
              <a:t>Ask your Microsoft Learning Partner how you can prepare for certification.</a:t>
            </a:r>
          </a:p>
          <a:p>
            <a:endParaRPr lang="en-US" dirty="0"/>
          </a:p>
          <a:p>
            <a:r>
              <a:rPr lang="en-US" dirty="0"/>
              <a:t>For more information about Microsoft Certifications, go to:</a:t>
            </a:r>
          </a:p>
          <a:p>
            <a:r>
              <a:rPr lang="en-US" dirty="0">
                <a:hlinkClick r:id="rId3" invalidUrl="http:///"/>
              </a:rPr>
              <a:t>http</a:t>
            </a:r>
            <a:r>
              <a:rPr lang="en-US" dirty="0">
                <a:hlinkClick r:id="rId4" invalidUrl="http:///"/>
              </a:rPr>
              <a:t>://</a:t>
            </a:r>
            <a:r>
              <a:rPr lang="en-US" dirty="0">
                <a:hlinkClick r:id="" action="ppaction://noaction"/>
              </a:rPr>
              <a:t>www.microsoft.com/learning/</a:t>
            </a:r>
          </a:p>
          <a:p>
            <a:r>
              <a:rPr lang="en-US" dirty="0">
                <a:hlinkClick r:id="" action="ppaction://noaction"/>
              </a:rPr>
              <a:t>certification</a:t>
            </a:r>
            <a:endParaRPr lang="en-US" dirty="0"/>
          </a:p>
          <a:p>
            <a:endParaRPr lang="en-US" dirty="0"/>
          </a:p>
          <a:p>
            <a:endParaRPr lang="en-US" dirty="0"/>
          </a:p>
          <a:p>
            <a:endParaRPr lang="en-US" dirty="0"/>
          </a:p>
          <a:p>
            <a:endParaRPr lang="en-US" dirty="0"/>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05000" y="5867400"/>
            <a:ext cx="1898910" cy="698502"/>
          </a:xfrm>
          <a:prstGeom prst="rect">
            <a:avLst/>
          </a:prstGeom>
        </p:spPr>
      </p:pic>
      <p:sp>
        <p:nvSpPr>
          <p:cNvPr id="4" name="TextBox 3"/>
          <p:cNvSpPr txBox="1"/>
          <p:nvPr/>
        </p:nvSpPr>
        <p:spPr>
          <a:xfrm>
            <a:off x="1981200" y="1066800"/>
            <a:ext cx="5029200" cy="523220"/>
          </a:xfrm>
          <a:prstGeom prst="rect">
            <a:avLst/>
          </a:prstGeom>
          <a:noFill/>
        </p:spPr>
        <p:txBody>
          <a:bodyPr wrap="square" rtlCol="0">
            <a:spAutoFit/>
          </a:bodyPr>
          <a:lstStyle/>
          <a:p>
            <a:r>
              <a:rPr lang="en-US" sz="2800" dirty="0">
                <a:solidFill>
                  <a:srgbClr val="00188F"/>
                </a:solidFill>
              </a:rPr>
              <a:t>Get trained. Get certified.</a:t>
            </a:r>
          </a:p>
        </p:txBody>
      </p:sp>
      <p:sp>
        <p:nvSpPr>
          <p:cNvPr id="9" name="Rectangle 8"/>
          <p:cNvSpPr/>
          <p:nvPr/>
        </p:nvSpPr>
        <p:spPr>
          <a:xfrm>
            <a:off x="7315200" y="1992086"/>
            <a:ext cx="2819400" cy="16764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7527471" y="2322455"/>
            <a:ext cx="2438400" cy="1015663"/>
          </a:xfrm>
          <a:prstGeom prst="rect">
            <a:avLst/>
          </a:prstGeom>
          <a:noFill/>
        </p:spPr>
        <p:txBody>
          <a:bodyPr wrap="square" rtlCol="0">
            <a:spAutoFit/>
          </a:bodyPr>
          <a:lstStyle/>
          <a:p>
            <a:r>
              <a:rPr lang="en-US" sz="2000" dirty="0">
                <a:solidFill>
                  <a:schemeClr val="bg1"/>
                </a:solidFill>
              </a:rPr>
              <a:t>Microsoft Certified Solutions Expert (MCSE)</a:t>
            </a:r>
          </a:p>
        </p:txBody>
      </p:sp>
      <p:sp>
        <p:nvSpPr>
          <p:cNvPr id="11" name="Rectangle 10"/>
          <p:cNvSpPr/>
          <p:nvPr/>
        </p:nvSpPr>
        <p:spPr>
          <a:xfrm>
            <a:off x="7315200" y="3962400"/>
            <a:ext cx="2819400" cy="16764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7543800" y="4292768"/>
            <a:ext cx="2438400" cy="1015663"/>
          </a:xfrm>
          <a:prstGeom prst="rect">
            <a:avLst/>
          </a:prstGeom>
          <a:noFill/>
        </p:spPr>
        <p:txBody>
          <a:bodyPr wrap="square" rtlCol="0">
            <a:spAutoFit/>
          </a:bodyPr>
          <a:lstStyle/>
          <a:p>
            <a:r>
              <a:rPr lang="en-US" sz="2000" dirty="0">
                <a:solidFill>
                  <a:schemeClr val="bg1"/>
                </a:solidFill>
              </a:rPr>
              <a:t>Microsoft Certified Solutions Associate (MCSA)</a:t>
            </a:r>
          </a:p>
        </p:txBody>
      </p:sp>
    </p:spTree>
    <p:extLst>
      <p:ext uri="{BB962C8B-B14F-4D97-AF65-F5344CB8AC3E}">
        <p14:creationId xmlns:p14="http://schemas.microsoft.com/office/powerpoint/2010/main" val="39721338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EC248-B603-4C13-841C-87B025C03CD1}"/>
              </a:ext>
            </a:extLst>
          </p:cNvPr>
          <p:cNvSpPr>
            <a:spLocks noGrp="1"/>
          </p:cNvSpPr>
          <p:nvPr>
            <p:ph type="title"/>
          </p:nvPr>
        </p:nvSpPr>
        <p:spPr/>
        <p:txBody>
          <a:bodyPr/>
          <a:lstStyle/>
          <a:p>
            <a:r>
              <a:rPr lang="en-US" sz="4000" dirty="0"/>
              <a:t>Value of Certification to YOU…</a:t>
            </a:r>
            <a:endParaRPr lang="en-US" dirty="0"/>
          </a:p>
        </p:txBody>
      </p:sp>
      <p:sp>
        <p:nvSpPr>
          <p:cNvPr id="3" name="Slide Number Placeholder 2">
            <a:extLst>
              <a:ext uri="{FF2B5EF4-FFF2-40B4-BE49-F238E27FC236}">
                <a16:creationId xmlns:a16="http://schemas.microsoft.com/office/drawing/2014/main" id="{DB339F4D-1A8F-4F31-BF36-B8ABAB43196A}"/>
              </a:ext>
            </a:extLst>
          </p:cNvPr>
          <p:cNvSpPr>
            <a:spLocks noGrp="1"/>
          </p:cNvSpPr>
          <p:nvPr>
            <p:ph type="sldNum" sz="quarter" idx="12"/>
          </p:nvPr>
        </p:nvSpPr>
        <p:spPr/>
        <p:txBody>
          <a:bodyPr/>
          <a:lstStyle/>
          <a:p>
            <a:fld id="{D814DA60-3BEE-4BCE-BEDB-E433FD970963}" type="slidenum">
              <a:rPr lang="en-US" smtClean="0"/>
              <a:pPr/>
              <a:t>4</a:t>
            </a:fld>
            <a:endParaRPr lang="en-US" dirty="0"/>
          </a:p>
        </p:txBody>
      </p:sp>
      <p:sp>
        <p:nvSpPr>
          <p:cNvPr id="4" name="Text Placeholder 3">
            <a:extLst>
              <a:ext uri="{FF2B5EF4-FFF2-40B4-BE49-F238E27FC236}">
                <a16:creationId xmlns:a16="http://schemas.microsoft.com/office/drawing/2014/main" id="{FD6555CD-D929-4146-B795-464D6D6A2FFF}"/>
              </a:ext>
            </a:extLst>
          </p:cNvPr>
          <p:cNvSpPr>
            <a:spLocks noGrp="1"/>
          </p:cNvSpPr>
          <p:nvPr>
            <p:ph type="body" sz="quarter" idx="13"/>
          </p:nvPr>
        </p:nvSpPr>
        <p:spPr>
          <a:xfrm>
            <a:off x="609600" y="1066800"/>
            <a:ext cx="10972800" cy="5786199"/>
          </a:xfrm>
        </p:spPr>
        <p:txBody>
          <a:bodyPr/>
          <a:lstStyle/>
          <a:p>
            <a:r>
              <a:rPr lang="en-US" dirty="0"/>
              <a:t>Increase Self-Confidence</a:t>
            </a:r>
          </a:p>
          <a:p>
            <a:r>
              <a:rPr lang="en-US" dirty="0"/>
              <a:t>Bragging Rights; Peer respect</a:t>
            </a:r>
          </a:p>
          <a:p>
            <a:r>
              <a:rPr lang="en-US" dirty="0"/>
              <a:t>Increase productivity</a:t>
            </a:r>
          </a:p>
          <a:p>
            <a:r>
              <a:rPr lang="en-US" dirty="0"/>
              <a:t>Better Quality &amp; Quantity</a:t>
            </a:r>
          </a:p>
          <a:p>
            <a:endParaRPr lang="en-US" dirty="0"/>
          </a:p>
          <a:p>
            <a:endParaRPr lang="en-US" dirty="0"/>
          </a:p>
          <a:p>
            <a:endParaRPr lang="en-US" dirty="0"/>
          </a:p>
          <a:p>
            <a:endParaRPr lang="en-US" dirty="0"/>
          </a:p>
          <a:p>
            <a:r>
              <a:rPr lang="en-US" dirty="0"/>
              <a:t>Be Productive Faster</a:t>
            </a:r>
          </a:p>
          <a:p>
            <a:r>
              <a:rPr lang="en-US" dirty="0"/>
              <a:t>Make noticeable business impact</a:t>
            </a:r>
          </a:p>
          <a:p>
            <a:r>
              <a:rPr lang="en-US" dirty="0"/>
              <a:t>Get promoted</a:t>
            </a:r>
          </a:p>
          <a:p>
            <a:endParaRPr lang="en-US" dirty="0"/>
          </a:p>
        </p:txBody>
      </p:sp>
      <p:sp>
        <p:nvSpPr>
          <p:cNvPr id="5" name="Rectangle 4">
            <a:extLst>
              <a:ext uri="{FF2B5EF4-FFF2-40B4-BE49-F238E27FC236}">
                <a16:creationId xmlns:a16="http://schemas.microsoft.com/office/drawing/2014/main" id="{EC84B83E-924C-4718-9874-36F06A09297C}"/>
              </a:ext>
            </a:extLst>
          </p:cNvPr>
          <p:cNvSpPr/>
          <p:nvPr/>
        </p:nvSpPr>
        <p:spPr>
          <a:xfrm>
            <a:off x="855643" y="6179541"/>
            <a:ext cx="9103605" cy="369332"/>
          </a:xfrm>
          <a:prstGeom prst="rect">
            <a:avLst/>
          </a:prstGeom>
        </p:spPr>
        <p:txBody>
          <a:bodyPr wrap="square">
            <a:spAutoFit/>
          </a:bodyPr>
          <a:lstStyle/>
          <a:p>
            <a:r>
              <a:rPr lang="en-US" dirty="0"/>
              <a:t>https://www.microsoft.com/en-us/learning/certification-testimonials.aspx</a:t>
            </a:r>
          </a:p>
        </p:txBody>
      </p:sp>
      <p:pic>
        <p:nvPicPr>
          <p:cNvPr id="7" name="Picture 6">
            <a:extLst>
              <a:ext uri="{FF2B5EF4-FFF2-40B4-BE49-F238E27FC236}">
                <a16:creationId xmlns:a16="http://schemas.microsoft.com/office/drawing/2014/main" id="{5912EF11-ECF7-4C83-B864-0EE402E2F3B9}"/>
              </a:ext>
            </a:extLst>
          </p:cNvPr>
          <p:cNvPicPr>
            <a:picLocks noChangeAspect="1"/>
          </p:cNvPicPr>
          <p:nvPr/>
        </p:nvPicPr>
        <p:blipFill>
          <a:blip r:embed="rId3"/>
          <a:stretch>
            <a:fillRect/>
          </a:stretch>
        </p:blipFill>
        <p:spPr>
          <a:xfrm>
            <a:off x="7810383" y="4337666"/>
            <a:ext cx="2733333" cy="980952"/>
          </a:xfrm>
          <a:prstGeom prst="rect">
            <a:avLst/>
          </a:prstGeom>
        </p:spPr>
      </p:pic>
    </p:spTree>
    <p:extLst>
      <p:ext uri="{BB962C8B-B14F-4D97-AF65-F5344CB8AC3E}">
        <p14:creationId xmlns:p14="http://schemas.microsoft.com/office/powerpoint/2010/main" val="237636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 calcmode="lin" valueType="num">
                                      <p:cBhvr additive="base">
                                        <p:cTn id="19"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txEl>
                                              <p:pRg st="3" end="3"/>
                                            </p:txEl>
                                          </p:spTgt>
                                        </p:tgtEl>
                                        <p:attrNameLst>
                                          <p:attrName>style.visibility</p:attrName>
                                        </p:attrNameLst>
                                      </p:cBhvr>
                                      <p:to>
                                        <p:strVal val="visible"/>
                                      </p:to>
                                    </p:set>
                                    <p:anim calcmode="lin" valueType="num">
                                      <p:cBhvr additive="base">
                                        <p:cTn id="25"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anim calcmode="lin" valueType="num">
                                      <p:cBhvr additive="base">
                                        <p:cTn id="31" dur="500" fill="hold"/>
                                        <p:tgtEl>
                                          <p:spTgt spid="4">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txEl>
                                              <p:pRg st="8" end="8"/>
                                            </p:txEl>
                                          </p:spTgt>
                                        </p:tgtEl>
                                        <p:attrNameLst>
                                          <p:attrName>ppt_y</p:attrName>
                                        </p:attrNameLst>
                                      </p:cBhvr>
                                      <p:tavLst>
                                        <p:tav tm="0">
                                          <p:val>
                                            <p:strVal val="1+#ppt_h/2"/>
                                          </p:val>
                                        </p:tav>
                                        <p:tav tm="100000">
                                          <p:val>
                                            <p:strVal val="#ppt_y"/>
                                          </p:val>
                                        </p:tav>
                                      </p:tavLst>
                                    </p:anim>
                                  </p:childTnLst>
                                </p:cTn>
                              </p:par>
                            </p:childTnLst>
                          </p:cTn>
                        </p:par>
                        <p:par>
                          <p:cTn id="33" fill="hold">
                            <p:stCondLst>
                              <p:cond delay="500"/>
                            </p:stCondLst>
                            <p:childTnLst>
                              <p:par>
                                <p:cTn id="34" presetID="2" presetClass="entr" presetSubtype="4" fill="hold" grpId="0" nodeType="afterEffect">
                                  <p:stCondLst>
                                    <p:cond delay="0"/>
                                  </p:stCondLst>
                                  <p:childTnLst>
                                    <p:set>
                                      <p:cBhvr>
                                        <p:cTn id="35" dur="1" fill="hold">
                                          <p:stCondLst>
                                            <p:cond delay="0"/>
                                          </p:stCondLst>
                                        </p:cTn>
                                        <p:tgtEl>
                                          <p:spTgt spid="4">
                                            <p:txEl>
                                              <p:pRg st="9" end="9"/>
                                            </p:txEl>
                                          </p:spTgt>
                                        </p:tgtEl>
                                        <p:attrNameLst>
                                          <p:attrName>style.visibility</p:attrName>
                                        </p:attrNameLst>
                                      </p:cBhvr>
                                      <p:to>
                                        <p:strVal val="visible"/>
                                      </p:to>
                                    </p:set>
                                    <p:anim calcmode="lin" valueType="num">
                                      <p:cBhvr additive="base">
                                        <p:cTn id="36" dur="500" fill="hold"/>
                                        <p:tgtEl>
                                          <p:spTgt spid="4">
                                            <p:txEl>
                                              <p:pRg st="9" end="9"/>
                                            </p:txEl>
                                          </p:spTgt>
                                        </p:tgtEl>
                                        <p:attrNameLst>
                                          <p:attrName>ppt_x</p:attrName>
                                        </p:attrNameLst>
                                      </p:cBhvr>
                                      <p:tavLst>
                                        <p:tav tm="0">
                                          <p:val>
                                            <p:strVal val="#ppt_x"/>
                                          </p:val>
                                        </p:tav>
                                        <p:tav tm="100000">
                                          <p:val>
                                            <p:strVal val="#ppt_x"/>
                                          </p:val>
                                        </p:tav>
                                      </p:tavLst>
                                    </p:anim>
                                    <p:anim calcmode="lin" valueType="num">
                                      <p:cBhvr additive="base">
                                        <p:cTn id="37" dur="500" fill="hold"/>
                                        <p:tgtEl>
                                          <p:spTgt spid="4">
                                            <p:txEl>
                                              <p:pRg st="9" end="9"/>
                                            </p:txEl>
                                          </p:spTgt>
                                        </p:tgtEl>
                                        <p:attrNameLst>
                                          <p:attrName>ppt_y</p:attrName>
                                        </p:attrNameLst>
                                      </p:cBhvr>
                                      <p:tavLst>
                                        <p:tav tm="0">
                                          <p:val>
                                            <p:strVal val="1+#ppt_h/2"/>
                                          </p:val>
                                        </p:tav>
                                        <p:tav tm="100000">
                                          <p:val>
                                            <p:strVal val="#ppt_y"/>
                                          </p:val>
                                        </p:tav>
                                      </p:tavLst>
                                    </p:anim>
                                  </p:childTnLst>
                                </p:cTn>
                              </p:par>
                            </p:childTnLst>
                          </p:cTn>
                        </p:par>
                        <p:par>
                          <p:cTn id="38" fill="hold">
                            <p:stCondLst>
                              <p:cond delay="1000"/>
                            </p:stCondLst>
                            <p:childTnLst>
                              <p:par>
                                <p:cTn id="39" presetID="2" presetClass="entr" presetSubtype="4" fill="hold" grpId="0" nodeType="afterEffect">
                                  <p:stCondLst>
                                    <p:cond delay="0"/>
                                  </p:stCondLst>
                                  <p:childTnLst>
                                    <p:set>
                                      <p:cBhvr>
                                        <p:cTn id="40" dur="1" fill="hold">
                                          <p:stCondLst>
                                            <p:cond delay="0"/>
                                          </p:stCondLst>
                                        </p:cTn>
                                        <p:tgtEl>
                                          <p:spTgt spid="4">
                                            <p:txEl>
                                              <p:pRg st="10" end="10"/>
                                            </p:txEl>
                                          </p:spTgt>
                                        </p:tgtEl>
                                        <p:attrNameLst>
                                          <p:attrName>style.visibility</p:attrName>
                                        </p:attrNameLst>
                                      </p:cBhvr>
                                      <p:to>
                                        <p:strVal val="visible"/>
                                      </p:to>
                                    </p:set>
                                    <p:anim calcmode="lin" valueType="num">
                                      <p:cBhvr additive="base">
                                        <p:cTn id="41" dur="500" fill="hold"/>
                                        <p:tgtEl>
                                          <p:spTgt spid="4">
                                            <p:txEl>
                                              <p:pRg st="10" end="10"/>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4">
                                            <p:txEl>
                                              <p:pRg st="10" end="10"/>
                                            </p:txEl>
                                          </p:spTgt>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7"/>
                                        </p:tgtEl>
                                        <p:attrNameLst>
                                          <p:attrName>style.visibility</p:attrName>
                                        </p:attrNameLst>
                                      </p:cBhvr>
                                      <p:to>
                                        <p:strVal val="visible"/>
                                      </p:to>
                                    </p:set>
                                    <p:anim calcmode="lin" valueType="num">
                                      <p:cBhvr additive="base">
                                        <p:cTn id="45" dur="500" fill="hold"/>
                                        <p:tgtEl>
                                          <p:spTgt spid="7"/>
                                        </p:tgtEl>
                                        <p:attrNameLst>
                                          <p:attrName>ppt_x</p:attrName>
                                        </p:attrNameLst>
                                      </p:cBhvr>
                                      <p:tavLst>
                                        <p:tav tm="0">
                                          <p:val>
                                            <p:strVal val="#ppt_x"/>
                                          </p:val>
                                        </p:tav>
                                        <p:tav tm="100000">
                                          <p:val>
                                            <p:strVal val="#ppt_x"/>
                                          </p:val>
                                        </p:tav>
                                      </p:tavLst>
                                    </p:anim>
                                    <p:anim calcmode="lin" valueType="num">
                                      <p:cBhvr additive="base">
                                        <p:cTn id="4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7B3CC-5706-45C8-B8D2-BF8B1F322357}"/>
              </a:ext>
            </a:extLst>
          </p:cNvPr>
          <p:cNvSpPr>
            <a:spLocks noGrp="1"/>
          </p:cNvSpPr>
          <p:nvPr>
            <p:ph type="title"/>
          </p:nvPr>
        </p:nvSpPr>
        <p:spPr/>
        <p:txBody>
          <a:bodyPr/>
          <a:lstStyle/>
          <a:p>
            <a:r>
              <a:rPr lang="en-US" dirty="0"/>
              <a:t>Value to Business</a:t>
            </a:r>
          </a:p>
        </p:txBody>
      </p:sp>
      <p:sp>
        <p:nvSpPr>
          <p:cNvPr id="3" name="Slide Number Placeholder 2">
            <a:extLst>
              <a:ext uri="{FF2B5EF4-FFF2-40B4-BE49-F238E27FC236}">
                <a16:creationId xmlns:a16="http://schemas.microsoft.com/office/drawing/2014/main" id="{365C29D0-82D0-4A10-86EE-89B4CEFF80C3}"/>
              </a:ext>
            </a:extLst>
          </p:cNvPr>
          <p:cNvSpPr>
            <a:spLocks noGrp="1"/>
          </p:cNvSpPr>
          <p:nvPr>
            <p:ph type="sldNum" sz="quarter" idx="12"/>
          </p:nvPr>
        </p:nvSpPr>
        <p:spPr/>
        <p:txBody>
          <a:bodyPr/>
          <a:lstStyle/>
          <a:p>
            <a:fld id="{D814DA60-3BEE-4BCE-BEDB-E433FD970963}" type="slidenum">
              <a:rPr lang="en-US" smtClean="0"/>
              <a:pPr/>
              <a:t>5</a:t>
            </a:fld>
            <a:endParaRPr lang="en-US" dirty="0"/>
          </a:p>
        </p:txBody>
      </p:sp>
      <p:sp>
        <p:nvSpPr>
          <p:cNvPr id="4" name="Text Placeholder 3">
            <a:extLst>
              <a:ext uri="{FF2B5EF4-FFF2-40B4-BE49-F238E27FC236}">
                <a16:creationId xmlns:a16="http://schemas.microsoft.com/office/drawing/2014/main" id="{775E113B-1E12-4B3F-A4FB-F585F683C648}"/>
              </a:ext>
            </a:extLst>
          </p:cNvPr>
          <p:cNvSpPr>
            <a:spLocks noGrp="1"/>
          </p:cNvSpPr>
          <p:nvPr>
            <p:ph type="body" sz="quarter" idx="13"/>
          </p:nvPr>
        </p:nvSpPr>
        <p:spPr>
          <a:xfrm>
            <a:off x="609600" y="979714"/>
            <a:ext cx="10972800" cy="2468368"/>
          </a:xfrm>
        </p:spPr>
        <p:txBody>
          <a:bodyPr/>
          <a:lstStyle/>
          <a:p>
            <a:r>
              <a:rPr lang="en-US" dirty="0"/>
              <a:t>Improved productivity and reduced cost</a:t>
            </a:r>
          </a:p>
          <a:p>
            <a:r>
              <a:rPr lang="en-US" dirty="0"/>
              <a:t>Employee advancement</a:t>
            </a:r>
          </a:p>
          <a:p>
            <a:r>
              <a:rPr lang="en-US" dirty="0"/>
              <a:t>Improved IT staff efficiencies</a:t>
            </a:r>
          </a:p>
          <a:p>
            <a:r>
              <a:rPr lang="en-US" dirty="0"/>
              <a:t>Improved availability and risk mitigation</a:t>
            </a:r>
          </a:p>
          <a:p>
            <a:r>
              <a:rPr lang="en-US" dirty="0"/>
              <a:t>Increased business agility</a:t>
            </a:r>
          </a:p>
        </p:txBody>
      </p:sp>
    </p:spTree>
    <p:extLst>
      <p:ext uri="{BB962C8B-B14F-4D97-AF65-F5344CB8AC3E}">
        <p14:creationId xmlns:p14="http://schemas.microsoft.com/office/powerpoint/2010/main" val="2653520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barn(inVertical)">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barn(inVertical)">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barn(inVertical)">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barn(inVertical)">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barn(inVertical)">
                                      <p:cBhvr>
                                        <p:cTn id="2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ps, Tricks and Field Experiences </a:t>
            </a:r>
          </a:p>
        </p:txBody>
      </p:sp>
      <p:graphicFrame>
        <p:nvGraphicFramePr>
          <p:cNvPr id="7" name="Content Placeholder 6"/>
          <p:cNvGraphicFramePr>
            <a:graphicFrameLocks noGrp="1"/>
          </p:cNvGraphicFramePr>
          <p:nvPr>
            <p:ph sz="half" idx="1"/>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Content Placeholder 7"/>
          <p:cNvGraphicFramePr>
            <a:graphicFrameLocks noGrp="1"/>
          </p:cNvGraphicFramePr>
          <p:nvPr>
            <p:ph sz="half" idx="2"/>
            <p:extLst>
              <p:ext uri="{D42A27DB-BD31-4B8C-83A1-F6EECF244321}">
                <p14:modId xmlns:p14="http://schemas.microsoft.com/office/powerpoint/2010/main" val="308628644"/>
              </p:ext>
            </p:extLst>
          </p:nvPr>
        </p:nvGraphicFramePr>
        <p:xfrm>
          <a:off x="6188220" y="1884218"/>
          <a:ext cx="5699125" cy="336942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77217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ps, Tricks and Field Experiences </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1409063966"/>
              </p:ext>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3"/>
          <p:cNvSpPr>
            <a:spLocks noGrp="1"/>
          </p:cNvSpPr>
          <p:nvPr>
            <p:ph sz="half" idx="2"/>
          </p:nvPr>
        </p:nvSpPr>
        <p:spPr/>
        <p:txBody>
          <a:bodyPr/>
          <a:lstStyle/>
          <a:p>
            <a:endParaRPr lang="en-US"/>
          </a:p>
        </p:txBody>
      </p:sp>
      <p:graphicFrame>
        <p:nvGraphicFramePr>
          <p:cNvPr id="7" name="Content Placeholder 7"/>
          <p:cNvGraphicFramePr>
            <a:graphicFrameLocks/>
          </p:cNvGraphicFramePr>
          <p:nvPr>
            <p:extLst/>
          </p:nvPr>
        </p:nvGraphicFramePr>
        <p:xfrm>
          <a:off x="6345238" y="1279525"/>
          <a:ext cx="5699125" cy="49688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327527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
        <p:nvSpPr>
          <p:cNvPr id="4" name="Rectangle 3">
            <a:extLst>
              <a:ext uri="{FF2B5EF4-FFF2-40B4-BE49-F238E27FC236}">
                <a16:creationId xmlns:a16="http://schemas.microsoft.com/office/drawing/2014/main" id="{EC14F126-6D06-429E-897E-E447644EC62C}"/>
              </a:ext>
            </a:extLst>
          </p:cNvPr>
          <p:cNvSpPr/>
          <p:nvPr/>
        </p:nvSpPr>
        <p:spPr>
          <a:xfrm>
            <a:off x="936566" y="6131669"/>
            <a:ext cx="9138459" cy="369332"/>
          </a:xfrm>
          <a:prstGeom prst="rect">
            <a:avLst/>
          </a:prstGeom>
        </p:spPr>
        <p:txBody>
          <a:bodyPr wrap="square">
            <a:spAutoFit/>
          </a:bodyPr>
          <a:lstStyle/>
          <a:p>
            <a:r>
              <a:rPr lang="en-US" dirty="0"/>
              <a:t>https://www.microsoft.com/en-us/learning/mcsa-cloud-platform-certification.aspx</a:t>
            </a:r>
          </a:p>
        </p:txBody>
      </p:sp>
      <p:pic>
        <p:nvPicPr>
          <p:cNvPr id="6" name="Picture 5">
            <a:extLst>
              <a:ext uri="{FF2B5EF4-FFF2-40B4-BE49-F238E27FC236}">
                <a16:creationId xmlns:a16="http://schemas.microsoft.com/office/drawing/2014/main" id="{B6E530A8-6D59-4748-9699-C6EEC7D6D0B6}"/>
              </a:ext>
            </a:extLst>
          </p:cNvPr>
          <p:cNvPicPr>
            <a:picLocks noChangeAspect="1"/>
          </p:cNvPicPr>
          <p:nvPr/>
        </p:nvPicPr>
        <p:blipFill>
          <a:blip r:embed="rId3"/>
          <a:stretch>
            <a:fillRect/>
          </a:stretch>
        </p:blipFill>
        <p:spPr>
          <a:xfrm>
            <a:off x="1266151" y="242443"/>
            <a:ext cx="9659698" cy="6373114"/>
          </a:xfrm>
          <a:prstGeom prst="rect">
            <a:avLst/>
          </a:prstGeom>
        </p:spPr>
      </p:pic>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31"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p:cTn id="29" dur="1000" fill="hold"/>
                                        <p:tgtEl>
                                          <p:spTgt spid="6"/>
                                        </p:tgtEl>
                                        <p:attrNameLst>
                                          <p:attrName>ppt_w</p:attrName>
                                        </p:attrNameLst>
                                      </p:cBhvr>
                                      <p:tavLst>
                                        <p:tav tm="0">
                                          <p:val>
                                            <p:fltVal val="0"/>
                                          </p:val>
                                        </p:tav>
                                        <p:tav tm="100000">
                                          <p:val>
                                            <p:strVal val="#ppt_w"/>
                                          </p:val>
                                        </p:tav>
                                      </p:tavLst>
                                    </p:anim>
                                    <p:anim calcmode="lin" valueType="num">
                                      <p:cBhvr>
                                        <p:cTn id="30" dur="1000" fill="hold"/>
                                        <p:tgtEl>
                                          <p:spTgt spid="6"/>
                                        </p:tgtEl>
                                        <p:attrNameLst>
                                          <p:attrName>ppt_h</p:attrName>
                                        </p:attrNameLst>
                                      </p:cBhvr>
                                      <p:tavLst>
                                        <p:tav tm="0">
                                          <p:val>
                                            <p:fltVal val="0"/>
                                          </p:val>
                                        </p:tav>
                                        <p:tav tm="100000">
                                          <p:val>
                                            <p:strVal val="#ppt_h"/>
                                          </p:val>
                                        </p:tav>
                                      </p:tavLst>
                                    </p:anim>
                                    <p:anim calcmode="lin" valueType="num">
                                      <p:cBhvr>
                                        <p:cTn id="31" dur="1000" fill="hold"/>
                                        <p:tgtEl>
                                          <p:spTgt spid="6"/>
                                        </p:tgtEl>
                                        <p:attrNameLst>
                                          <p:attrName>style.rotation</p:attrName>
                                        </p:attrNameLst>
                                      </p:cBhvr>
                                      <p:tavLst>
                                        <p:tav tm="0">
                                          <p:val>
                                            <p:fltVal val="90"/>
                                          </p:val>
                                        </p:tav>
                                        <p:tav tm="100000">
                                          <p:val>
                                            <p:fltVal val="0"/>
                                          </p:val>
                                        </p:tav>
                                      </p:tavLst>
                                    </p:anim>
                                    <p:animEffect transition="in" filter="fade">
                                      <p:cBhvr>
                                        <p:cTn id="32"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GuruSkill">
  <a:themeElements>
    <a:clrScheme name="Custom 1">
      <a:dk1>
        <a:srgbClr val="000000"/>
      </a:dk1>
      <a:lt1>
        <a:srgbClr val="FFFFFF"/>
      </a:lt1>
      <a:dk2>
        <a:srgbClr val="000099"/>
      </a:dk2>
      <a:lt2>
        <a:srgbClr val="C0C0C0"/>
      </a:lt2>
      <a:accent1>
        <a:srgbClr val="FFFFFF"/>
      </a:accent1>
      <a:accent2>
        <a:srgbClr val="8DACD0"/>
      </a:accent2>
      <a:accent3>
        <a:srgbClr val="FFFFFF"/>
      </a:accent3>
      <a:accent4>
        <a:srgbClr val="000000"/>
      </a:accent4>
      <a:accent5>
        <a:srgbClr val="FF9900"/>
      </a:accent5>
      <a:accent6>
        <a:srgbClr val="0000FE"/>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10489</TotalTime>
  <Words>4472</Words>
  <Application>Microsoft Office PowerPoint</Application>
  <PresentationFormat>Widescreen</PresentationFormat>
  <Paragraphs>293</Paragraphs>
  <Slides>25</Slides>
  <Notes>25</Notes>
  <HiddenSlides>0</HiddenSlides>
  <MMClips>0</MMClips>
  <ScaleCrop>false</ScaleCrop>
  <HeadingPairs>
    <vt:vector size="8" baseType="variant">
      <vt:variant>
        <vt:lpstr>Fonts Used</vt:lpstr>
      </vt:variant>
      <vt:variant>
        <vt:i4>18</vt:i4>
      </vt:variant>
      <vt:variant>
        <vt:lpstr>Theme</vt:lpstr>
      </vt:variant>
      <vt:variant>
        <vt:i4>34</vt:i4>
      </vt:variant>
      <vt:variant>
        <vt:lpstr>Embedded OLE Servers</vt:lpstr>
      </vt:variant>
      <vt:variant>
        <vt:i4>1</vt:i4>
      </vt:variant>
      <vt:variant>
        <vt:lpstr>Slide Titles</vt:lpstr>
      </vt:variant>
      <vt:variant>
        <vt:i4>25</vt:i4>
      </vt:variant>
    </vt:vector>
  </HeadingPairs>
  <TitlesOfParts>
    <vt:vector size="78" baseType="lpstr">
      <vt:lpstr>MS PGothic</vt:lpstr>
      <vt:lpstr>MS PGothic</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Symbol</vt:lpstr>
      <vt:lpstr>Times New Roman</vt:lpstr>
      <vt:lpstr>Verdana</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GuruSkill</vt:lpstr>
      <vt:lpstr>think-cell Slide</vt:lpstr>
      <vt:lpstr>Exam Info Tips</vt:lpstr>
      <vt:lpstr>Exam 70-535 Architecting Microsoft Azure Solutions Data &amp; Cloud Skill Up Workshop - Azure Fundamentals </vt:lpstr>
      <vt:lpstr>Microsoft Certification Program</vt:lpstr>
      <vt:lpstr>Value of Certification to YOU…</vt:lpstr>
      <vt:lpstr>Value to Business</vt:lpstr>
      <vt:lpstr>Tips, Tricks and Field Experiences </vt:lpstr>
      <vt:lpstr>Tips, Tricks and Field Experiences </vt:lpstr>
      <vt:lpstr>Exam Information</vt:lpstr>
      <vt:lpstr>RoadMap – Azure Certifications</vt:lpstr>
      <vt:lpstr>Consult the Official Exam Page for Your Exam</vt:lpstr>
      <vt:lpstr>The Times the are a Changing</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Save Money on Your Exams</vt:lpstr>
      <vt:lpstr>Leave Comments About Exam Questions</vt:lpstr>
      <vt:lpstr>Additional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Dan Stolts</cp:lastModifiedBy>
  <cp:revision>137</cp:revision>
  <dcterms:created xsi:type="dcterms:W3CDTF">2015-09-15T13:10:44Z</dcterms:created>
  <dcterms:modified xsi:type="dcterms:W3CDTF">2018-05-23T16:5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5-15T11:18:30.562834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MSIP_Label_75212135-9234-47a0-a836-df5f1b370b97_Enabled">
    <vt:lpwstr>True</vt:lpwstr>
  </property>
  <property fmtid="{D5CDD505-2E9C-101B-9397-08002B2CF9AE}" pid="10" name="MSIP_Label_75212135-9234-47a0-a836-df5f1b370b97_SiteId">
    <vt:lpwstr>511ce6e0-0e57-4c9f-acd1-4154a6b4c914</vt:lpwstr>
  </property>
  <property fmtid="{D5CDD505-2E9C-101B-9397-08002B2CF9AE}" pid="11" name="MSIP_Label_75212135-9234-47a0-a836-df5f1b370b97_Owner">
    <vt:lpwstr>ahamilton@mstecs.com</vt:lpwstr>
  </property>
  <property fmtid="{D5CDD505-2E9C-101B-9397-08002B2CF9AE}" pid="12" name="MSIP_Label_75212135-9234-47a0-a836-df5f1b370b97_SetDate">
    <vt:lpwstr>2018-04-15T16:04:07.2985746+01:00</vt:lpwstr>
  </property>
  <property fmtid="{D5CDD505-2E9C-101B-9397-08002B2CF9AE}" pid="13" name="MSIP_Label_75212135-9234-47a0-a836-df5f1b370b97_Name">
    <vt:lpwstr>Public</vt:lpwstr>
  </property>
  <property fmtid="{D5CDD505-2E9C-101B-9397-08002B2CF9AE}" pid="14" name="MSIP_Label_75212135-9234-47a0-a836-df5f1b370b97_Application">
    <vt:lpwstr>Microsoft Azure Information Protection</vt:lpwstr>
  </property>
  <property fmtid="{D5CDD505-2E9C-101B-9397-08002B2CF9AE}" pid="15" name="MSIP_Label_75212135-9234-47a0-a836-df5f1b370b97_Extended_MSFT_Method">
    <vt:lpwstr>Automatic</vt:lpwstr>
  </property>
  <property fmtid="{D5CDD505-2E9C-101B-9397-08002B2CF9AE}" pid="16" name="Sensitivity">
    <vt:lpwstr>General Public</vt:lpwstr>
  </property>
</Properties>
</file>